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0" r:id="rId2"/>
    <p:sldMasterId id="2147483697" r:id="rId3"/>
    <p:sldMasterId id="2147483704" r:id="rId4"/>
    <p:sldMasterId id="2147483711" r:id="rId5"/>
  </p:sldMasterIdLst>
  <p:notesMasterIdLst>
    <p:notesMasterId r:id="rId9"/>
  </p:notesMasterIdLst>
  <p:sldIdLst>
    <p:sldId id="2134804912" r:id="rId6"/>
    <p:sldId id="2145706994" r:id="rId7"/>
    <p:sldId id="2145707363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helle Nutting" initials="MN" lastIdx="1" clrIdx="0">
    <p:extLst>
      <p:ext uri="{19B8F6BF-5375-455C-9EA6-DF929625EA0E}">
        <p15:presenceInfo xmlns:p15="http://schemas.microsoft.com/office/powerpoint/2012/main" userId="S-1-5-21-986751565-2897232909-2057580207-94342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55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D25F36-ED27-4089-BA11-2DD6C85360D1}" type="datetimeFigureOut">
              <a:rPr lang="en-US" smtClean="0"/>
              <a:t>2/2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73838E-DFBB-4D8D-B615-E53E62CE49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9421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argeting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804734-865D-7C4C-9A40-EA3443E15AB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64838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B6284-DD37-1A4A-89BF-CE60BF67DC4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67128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4.png"/><Relationship Id="rId4" Type="http://schemas.openxmlformats.org/officeDocument/2006/relationships/image" Target="../media/image1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4.png"/><Relationship Id="rId4" Type="http://schemas.openxmlformats.org/officeDocument/2006/relationships/image" Target="../media/image1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5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34.jpe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36.emf"/><Relationship Id="rId4" Type="http://schemas.openxmlformats.org/officeDocument/2006/relationships/oleObject" Target="../embeddings/oleObject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2" Type="http://schemas.openxmlformats.org/officeDocument/2006/relationships/tags" Target="../tags/tag38.xml"/><Relationship Id="rId16" Type="http://schemas.openxmlformats.org/officeDocument/2006/relationships/image" Target="../media/image38.emf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5" Type="http://schemas.openxmlformats.org/officeDocument/2006/relationships/tags" Target="../tags/tag41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46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5.pn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34.jpe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36.emf"/><Relationship Id="rId4" Type="http://schemas.openxmlformats.org/officeDocument/2006/relationships/oleObject" Target="../embeddings/oleObject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2" Type="http://schemas.openxmlformats.org/officeDocument/2006/relationships/tags" Target="../tags/tag87.xml"/><Relationship Id="rId16" Type="http://schemas.openxmlformats.org/officeDocument/2006/relationships/image" Target="../media/image38.emf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oleObject" Target="../embeddings/oleObject8.bin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5.png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34.jpe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5" Type="http://schemas.openxmlformats.org/officeDocument/2006/relationships/image" Target="../media/image36.emf"/><Relationship Id="rId4" Type="http://schemas.openxmlformats.org/officeDocument/2006/relationships/oleObject" Target="../embeddings/oleObject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13" Type="http://schemas.openxmlformats.org/officeDocument/2006/relationships/tags" Target="../tags/tag147.xml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12" Type="http://schemas.openxmlformats.org/officeDocument/2006/relationships/tags" Target="../tags/tag146.xml"/><Relationship Id="rId2" Type="http://schemas.openxmlformats.org/officeDocument/2006/relationships/tags" Target="../tags/tag136.xml"/><Relationship Id="rId16" Type="http://schemas.openxmlformats.org/officeDocument/2006/relationships/image" Target="../media/image38.emf"/><Relationship Id="rId1" Type="http://schemas.openxmlformats.org/officeDocument/2006/relationships/tags" Target="../tags/tag135.xml"/><Relationship Id="rId6" Type="http://schemas.openxmlformats.org/officeDocument/2006/relationships/tags" Target="../tags/tag140.xml"/><Relationship Id="rId11" Type="http://schemas.openxmlformats.org/officeDocument/2006/relationships/tags" Target="../tags/tag145.xml"/><Relationship Id="rId5" Type="http://schemas.openxmlformats.org/officeDocument/2006/relationships/tags" Target="../tags/tag139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144.xml"/><Relationship Id="rId4" Type="http://schemas.openxmlformats.org/officeDocument/2006/relationships/tags" Target="../tags/tag138.xml"/><Relationship Id="rId9" Type="http://schemas.openxmlformats.org/officeDocument/2006/relationships/tags" Target="../tags/tag143.xml"/><Relationship Id="rId14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1.jp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2.jp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3.jp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4.jp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5.jp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6.jp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4B6995-C44E-C447-AEBA-957DC0B437F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3940" y="4838699"/>
            <a:ext cx="5450166" cy="34290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date</a:t>
            </a:r>
          </a:p>
        </p:txBody>
      </p:sp>
      <p:pic>
        <p:nvPicPr>
          <p:cNvPr id="11" name="Google Shape;64;p1">
            <a:extLst>
              <a:ext uri="{FF2B5EF4-FFF2-40B4-BE49-F238E27FC236}">
                <a16:creationId xmlns:a16="http://schemas.microsoft.com/office/drawing/2014/main" id="{71EBADBE-289A-7241-84BE-452599DF0581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322915"/>
            <a:ext cx="1132976" cy="439833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4778BA3-4DE6-43CB-860D-BD8E0636668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6">
                  <a:lumMod val="79000"/>
                </a:schemeClr>
              </a:gs>
              <a:gs pos="0">
                <a:srgbClr val="92D050"/>
              </a:gs>
            </a:gsLst>
            <a:lin ang="540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3387F923-2D47-46A0-9E33-D6822EDC80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8227" y="0"/>
            <a:ext cx="6311837" cy="6858000"/>
          </a:xfrm>
          <a:prstGeom prst="rect">
            <a:avLst/>
          </a:prstGeom>
        </p:spPr>
      </p:pic>
      <p:pic>
        <p:nvPicPr>
          <p:cNvPr id="9" name="Google Shape;64;p1">
            <a:extLst>
              <a:ext uri="{FF2B5EF4-FFF2-40B4-BE49-F238E27FC236}">
                <a16:creationId xmlns:a16="http://schemas.microsoft.com/office/drawing/2014/main" id="{0C341E3D-C2B4-4267-AA93-DF527BDF1ADC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309999"/>
            <a:ext cx="1132976" cy="439833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3B22E0F-9FA3-4431-A7B1-BBE262D29F1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952" y="1987771"/>
            <a:ext cx="5012264" cy="2819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3349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5F99F5E-597E-44D5-B999-2D354E31510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72949D1-1F6E-2A40-991C-553704AFC1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990C9D2-E5D3-7944-B0C1-6C631DC8C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0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Google Shape;64;p1">
            <a:extLst>
              <a:ext uri="{FF2B5EF4-FFF2-40B4-BE49-F238E27FC236}">
                <a16:creationId xmlns:a16="http://schemas.microsoft.com/office/drawing/2014/main" id="{EE30B844-41D0-6547-ACB7-4B159C0BAF89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79499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wearing glasses and smiling at the camera&#10;&#10;Description automatically generated">
            <a:extLst>
              <a:ext uri="{FF2B5EF4-FFF2-40B4-BE49-F238E27FC236}">
                <a16:creationId xmlns:a16="http://schemas.microsoft.com/office/drawing/2014/main" id="{8952C697-9EC4-4449-9D30-9E760625EB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FC3F2DB-46D2-654E-9560-42EE49FF4F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D3EBB953-696B-F349-8D0B-39D9427072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0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Google Shape;64;p1">
            <a:extLst>
              <a:ext uri="{FF2B5EF4-FFF2-40B4-BE49-F238E27FC236}">
                <a16:creationId xmlns:a16="http://schemas.microsoft.com/office/drawing/2014/main" id="{C7679FBF-E5A6-EE48-BDBA-6758AEBCEDAB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38968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rry image of a building&#10;&#10;Description automatically generated">
            <a:extLst>
              <a:ext uri="{FF2B5EF4-FFF2-40B4-BE49-F238E27FC236}">
                <a16:creationId xmlns:a16="http://schemas.microsoft.com/office/drawing/2014/main" id="{80B77AFA-1D5D-4162-9715-39C2813773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AE4969E-F24C-7944-A2B8-D4B64BB1B8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ABABF64E-4F9D-8A4F-846F-B08E3EDC2A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0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Google Shape;64;p1">
            <a:extLst>
              <a:ext uri="{FF2B5EF4-FFF2-40B4-BE49-F238E27FC236}">
                <a16:creationId xmlns:a16="http://schemas.microsoft.com/office/drawing/2014/main" id="{4F5B8206-BEEA-7E4B-9DD3-7000A742B80E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456168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some grass&#10;&#10;Description automatically generated">
            <a:extLst>
              <a:ext uri="{FF2B5EF4-FFF2-40B4-BE49-F238E27FC236}">
                <a16:creationId xmlns:a16="http://schemas.microsoft.com/office/drawing/2014/main" id="{6EEC5C2C-99FD-4E70-B72C-6018312E1A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C86D2B3-8CB8-D642-B5A6-B2A3E942B7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31CD161E-1154-A749-8210-9D0EFEE6F5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0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Google Shape;64;p1">
            <a:extLst>
              <a:ext uri="{FF2B5EF4-FFF2-40B4-BE49-F238E27FC236}">
                <a16:creationId xmlns:a16="http://schemas.microsoft.com/office/drawing/2014/main" id="{60704028-93E6-424B-8433-96031CDDF0E9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365501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tree&#10;&#10;Description automatically generated">
            <a:extLst>
              <a:ext uri="{FF2B5EF4-FFF2-40B4-BE49-F238E27FC236}">
                <a16:creationId xmlns:a16="http://schemas.microsoft.com/office/drawing/2014/main" id="{62F5EB89-19B7-4EBD-9A16-DAC0AFF220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C86D2B3-8CB8-D642-B5A6-B2A3E942B7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DA3CED1-537D-4343-BB74-A4E815994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0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Google Shape;64;p1">
            <a:extLst>
              <a:ext uri="{FF2B5EF4-FFF2-40B4-BE49-F238E27FC236}">
                <a16:creationId xmlns:a16="http://schemas.microsoft.com/office/drawing/2014/main" id="{3380811A-DEE6-A340-B66D-7F0911286D7A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996353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E5204EE-FA7B-4E47-BA93-266C671CD6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C86D2B3-8CB8-D642-B5A6-B2A3E942B7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DA3CED1-537D-4343-BB74-A4E815994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0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Google Shape;64;p1">
            <a:extLst>
              <a:ext uri="{FF2B5EF4-FFF2-40B4-BE49-F238E27FC236}">
                <a16:creationId xmlns:a16="http://schemas.microsoft.com/office/drawing/2014/main" id="{3380811A-DEE6-A340-B66D-7F0911286D7A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628378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ky, wall, building&#10;&#10;Description automatically generated">
            <a:extLst>
              <a:ext uri="{FF2B5EF4-FFF2-40B4-BE49-F238E27FC236}">
                <a16:creationId xmlns:a16="http://schemas.microsoft.com/office/drawing/2014/main" id="{DBE0F172-5D92-45E9-A935-E8C28581BF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C86D2B3-8CB8-D642-B5A6-B2A3E942B7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DA3CED1-537D-4343-BB74-A4E815994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0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Google Shape;64;p1">
            <a:extLst>
              <a:ext uri="{FF2B5EF4-FFF2-40B4-BE49-F238E27FC236}">
                <a16:creationId xmlns:a16="http://schemas.microsoft.com/office/drawing/2014/main" id="{3380811A-DEE6-A340-B66D-7F0911286D7A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837202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hand&#10;&#10;Description automatically generated">
            <a:extLst>
              <a:ext uri="{FF2B5EF4-FFF2-40B4-BE49-F238E27FC236}">
                <a16:creationId xmlns:a16="http://schemas.microsoft.com/office/drawing/2014/main" id="{987A3340-6528-481A-A2AA-3FDC5FE42D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C86D2B3-8CB8-D642-B5A6-B2A3E942B7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DA3CED1-537D-4343-BB74-A4E815994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0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Google Shape;64;p1">
            <a:extLst>
              <a:ext uri="{FF2B5EF4-FFF2-40B4-BE49-F238E27FC236}">
                <a16:creationId xmlns:a16="http://schemas.microsoft.com/office/drawing/2014/main" id="{3380811A-DEE6-A340-B66D-7F0911286D7A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904885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cat, indoor&#10;&#10;Description automatically generated">
            <a:extLst>
              <a:ext uri="{FF2B5EF4-FFF2-40B4-BE49-F238E27FC236}">
                <a16:creationId xmlns:a16="http://schemas.microsoft.com/office/drawing/2014/main" id="{5764E5E8-8FEF-440B-8220-242218978A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C86D2B3-8CB8-D642-B5A6-B2A3E942B7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DA3CED1-537D-4343-BB74-A4E815994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0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Google Shape;64;p1">
            <a:extLst>
              <a:ext uri="{FF2B5EF4-FFF2-40B4-BE49-F238E27FC236}">
                <a16:creationId xmlns:a16="http://schemas.microsoft.com/office/drawing/2014/main" id="{3380811A-DEE6-A340-B66D-7F0911286D7A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228045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person, corn, holding, indoor&#10;&#10;Description automatically generated">
            <a:extLst>
              <a:ext uri="{FF2B5EF4-FFF2-40B4-BE49-F238E27FC236}">
                <a16:creationId xmlns:a16="http://schemas.microsoft.com/office/drawing/2014/main" id="{BAAC94BC-E3A7-468F-8E46-6F4432692A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C86D2B3-8CB8-D642-B5A6-B2A3E942B7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DA3CED1-537D-4343-BB74-A4E815994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0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Google Shape;64;p1">
            <a:extLst>
              <a:ext uri="{FF2B5EF4-FFF2-40B4-BE49-F238E27FC236}">
                <a16:creationId xmlns:a16="http://schemas.microsoft.com/office/drawing/2014/main" id="{3380811A-DEE6-A340-B66D-7F0911286D7A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08823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33BCB93-98F3-461B-9991-FF76C9E8278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tx1">
                  <a:lumMod val="50000"/>
                  <a:lumOff val="50000"/>
                </a:schemeClr>
              </a:gs>
              <a:gs pos="0">
                <a:schemeClr val="bg2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4B6995-C44E-C447-AEBA-957DC0B437F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3940" y="4838699"/>
            <a:ext cx="5450166" cy="34290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date</a:t>
            </a:r>
          </a:p>
        </p:txBody>
      </p:sp>
      <p:pic>
        <p:nvPicPr>
          <p:cNvPr id="11" name="Google Shape;64;p1">
            <a:extLst>
              <a:ext uri="{FF2B5EF4-FFF2-40B4-BE49-F238E27FC236}">
                <a16:creationId xmlns:a16="http://schemas.microsoft.com/office/drawing/2014/main" id="{71EBADBE-289A-7241-84BE-452599DF0581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322915"/>
            <a:ext cx="1132976" cy="439833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DBF695A2-A452-4356-9D10-0BA0BC35A0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800"/>
          <a:stretch/>
        </p:blipFill>
        <p:spPr>
          <a:xfrm>
            <a:off x="6238228" y="0"/>
            <a:ext cx="550393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BA7DD9C-EE51-4822-8CD5-6838DA73D7F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952" y="1987771"/>
            <a:ext cx="5012264" cy="2819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834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33B49B91-4E6E-4822-A3CB-36C940B555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71760" y="0"/>
            <a:ext cx="1920240" cy="35814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C571718-541F-4A46-8950-65E2A3D4B7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276600"/>
            <a:ext cx="1627632" cy="35814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2E5DBE5-99B5-7A4B-BE43-BB3E09AEB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467" y="1104639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4F9E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2C340A0-11CA-054C-8434-C52055FDE4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0875" y="2676525"/>
            <a:ext cx="9840913" cy="3076836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1BBABDC-6DFF-6546-A07D-A110047CCF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1323" y="334281"/>
            <a:ext cx="1260192" cy="566090"/>
          </a:xfrm>
          <a:prstGeom prst="rect">
            <a:avLst/>
          </a:prstGeom>
        </p:spPr>
      </p:pic>
      <p:pic>
        <p:nvPicPr>
          <p:cNvPr id="9" name="Google Shape;22;p22">
            <a:extLst>
              <a:ext uri="{FF2B5EF4-FFF2-40B4-BE49-F238E27FC236}">
                <a16:creationId xmlns:a16="http://schemas.microsoft.com/office/drawing/2014/main" id="{7EF01F2B-0C71-714B-BB99-349E91B89A11}"/>
              </a:ext>
            </a:extLst>
          </p:cNvPr>
          <p:cNvPicPr preferRelativeResize="0"/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2" y="6191953"/>
            <a:ext cx="1158872" cy="46770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70217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B1C5588A-27A0-4605-BEF7-3C8F0F21C6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71760" y="0"/>
            <a:ext cx="1920240" cy="3581400"/>
          </a:xfrm>
          <a:prstGeom prst="rect">
            <a:avLst/>
          </a:prstGeom>
        </p:spPr>
      </p:pic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4FF7CB32-4994-41F9-BE4A-8BAEEFD336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276600"/>
            <a:ext cx="1920240" cy="35814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2E5DBE5-99B5-7A4B-BE43-BB3E09AEB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467" y="1104639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4F9E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2C340A0-11CA-054C-8434-C52055FDE4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0875" y="2676525"/>
            <a:ext cx="9840913" cy="3076836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1BBABDC-6DFF-6546-A07D-A110047CCF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1323" y="334281"/>
            <a:ext cx="1260192" cy="566090"/>
          </a:xfrm>
          <a:prstGeom prst="rect">
            <a:avLst/>
          </a:prstGeom>
        </p:spPr>
      </p:pic>
      <p:pic>
        <p:nvPicPr>
          <p:cNvPr id="9" name="Google Shape;22;p22">
            <a:extLst>
              <a:ext uri="{FF2B5EF4-FFF2-40B4-BE49-F238E27FC236}">
                <a16:creationId xmlns:a16="http://schemas.microsoft.com/office/drawing/2014/main" id="{7EF01F2B-0C71-714B-BB99-349E91B89A11}"/>
              </a:ext>
            </a:extLst>
          </p:cNvPr>
          <p:cNvPicPr preferRelativeResize="0"/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2" y="6191953"/>
            <a:ext cx="1158872" cy="46770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830074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2E86C56-B6D6-E14F-8C08-45EE4170C6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A82F13A-FEB7-2241-ADB5-1B83916EF0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0875" y="2676525"/>
            <a:ext cx="9840913" cy="3076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Google Shape;64;p1">
            <a:extLst>
              <a:ext uri="{FF2B5EF4-FFF2-40B4-BE49-F238E27FC236}">
                <a16:creationId xmlns:a16="http://schemas.microsoft.com/office/drawing/2014/main" id="{CA1EB54D-E6DA-684E-836B-404DDC7C16E0}"/>
              </a:ext>
            </a:extLst>
          </p:cNvPr>
          <p:cNvPicPr preferRelativeResize="0"/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114B8FA-766C-6F46-A436-11ABAF6B89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1FB9ACA-3D99-1041-9887-40FF7938CA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0875" y="1234654"/>
            <a:ext cx="9340850" cy="11227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6062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2E86C56-B6D6-E14F-8C08-45EE4170C6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A82F13A-FEB7-2241-ADB5-1B83916EF0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0875" y="2676525"/>
            <a:ext cx="9840913" cy="3076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Google Shape;64;p1">
            <a:extLst>
              <a:ext uri="{FF2B5EF4-FFF2-40B4-BE49-F238E27FC236}">
                <a16:creationId xmlns:a16="http://schemas.microsoft.com/office/drawing/2014/main" id="{CA1EB54D-E6DA-684E-836B-404DDC7C16E0}"/>
              </a:ext>
            </a:extLst>
          </p:cNvPr>
          <p:cNvPicPr preferRelativeResize="0"/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114B8FA-766C-6F46-A436-11ABAF6B89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1FB9ACA-3D99-1041-9887-40FF7938CA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0875" y="1234654"/>
            <a:ext cx="9340850" cy="11227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8861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F43054F-5555-4786-BBD9-294A6E4F4EBB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100000">
                <a:schemeClr val="accent6">
                  <a:lumMod val="79000"/>
                </a:schemeClr>
              </a:gs>
              <a:gs pos="0">
                <a:srgbClr val="92D050"/>
              </a:gs>
            </a:gsLst>
            <a:lin ang="540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1090C00-0F16-3440-8354-A23CC299B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0875" y="2608262"/>
            <a:ext cx="4446259" cy="3076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C837020-8E37-9D44-B3D9-9203661101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79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picture her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1953F41A-46A9-064A-B79D-1A4718F60D0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1350" y="1172902"/>
            <a:ext cx="4455784" cy="11227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pic>
        <p:nvPicPr>
          <p:cNvPr id="15" name="Google Shape;64;p1">
            <a:extLst>
              <a:ext uri="{FF2B5EF4-FFF2-40B4-BE49-F238E27FC236}">
                <a16:creationId xmlns:a16="http://schemas.microsoft.com/office/drawing/2014/main" id="{F6E05D05-122D-0A4E-8D61-FC1F6BC4AFD5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22;p22">
            <a:extLst>
              <a:ext uri="{FF2B5EF4-FFF2-40B4-BE49-F238E27FC236}">
                <a16:creationId xmlns:a16="http://schemas.microsoft.com/office/drawing/2014/main" id="{36125A09-049D-DC42-BF2B-733C8BF70920}"/>
              </a:ext>
            </a:extLst>
          </p:cNvPr>
          <p:cNvPicPr preferRelativeResize="0"/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2" y="6191953"/>
            <a:ext cx="1158872" cy="467706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FC14D37-D232-0D4B-A85F-168C7E6F14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4635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B32FC48-9028-44B6-8BEF-6C8190511311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 flip="none" rotWithShape="1">
            <a:gsLst>
              <a:gs pos="100000">
                <a:schemeClr val="tx1">
                  <a:lumMod val="50000"/>
                  <a:lumOff val="50000"/>
                </a:schemeClr>
              </a:gs>
              <a:gs pos="0">
                <a:schemeClr val="bg2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1090C00-0F16-3440-8354-A23CC299B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0875" y="2608262"/>
            <a:ext cx="4446259" cy="3076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C837020-8E37-9D44-B3D9-9203661101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79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picture her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1953F41A-46A9-064A-B79D-1A4718F60D0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1350" y="1172902"/>
            <a:ext cx="4455784" cy="11227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pic>
        <p:nvPicPr>
          <p:cNvPr id="15" name="Google Shape;64;p1">
            <a:extLst>
              <a:ext uri="{FF2B5EF4-FFF2-40B4-BE49-F238E27FC236}">
                <a16:creationId xmlns:a16="http://schemas.microsoft.com/office/drawing/2014/main" id="{F6E05D05-122D-0A4E-8D61-FC1F6BC4AFD5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22;p22">
            <a:extLst>
              <a:ext uri="{FF2B5EF4-FFF2-40B4-BE49-F238E27FC236}">
                <a16:creationId xmlns:a16="http://schemas.microsoft.com/office/drawing/2014/main" id="{CA4D3B7C-3194-9345-AB2B-EAF1CEB0AD57}"/>
              </a:ext>
            </a:extLst>
          </p:cNvPr>
          <p:cNvPicPr preferRelativeResize="0"/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2" y="6191953"/>
            <a:ext cx="1158872" cy="467706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D4E360A-A32A-5847-A14A-2998AABDE6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0191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C45095B-8776-42F8-A90A-D75CDA2AE80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100000">
                <a:schemeClr val="accent6">
                  <a:lumMod val="79000"/>
                </a:schemeClr>
              </a:gs>
              <a:gs pos="0">
                <a:srgbClr val="92D050"/>
              </a:gs>
            </a:gsLst>
            <a:lin ang="540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4A6247A-78AA-D94F-85BD-D3AC3AAFBD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0875" y="2608262"/>
            <a:ext cx="4446259" cy="3076836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16EB90B6-9EDF-B84E-B568-66A787D5B96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799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picture he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FB8B147-3FE0-6544-9992-6C17F3534EB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0875" y="1234654"/>
            <a:ext cx="4446259" cy="11227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rgbClr val="4F9E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8985111-EA0C-A140-AE57-490CE126E3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1323" y="334281"/>
            <a:ext cx="1260192" cy="566090"/>
          </a:xfrm>
          <a:prstGeom prst="rect">
            <a:avLst/>
          </a:prstGeom>
        </p:spPr>
      </p:pic>
      <p:pic>
        <p:nvPicPr>
          <p:cNvPr id="10" name="Google Shape;64;p1">
            <a:extLst>
              <a:ext uri="{FF2B5EF4-FFF2-40B4-BE49-F238E27FC236}">
                <a16:creationId xmlns:a16="http://schemas.microsoft.com/office/drawing/2014/main" id="{574F90BC-B5E3-FC49-B544-70C2B1F78DCA}"/>
              </a:ext>
            </a:extLst>
          </p:cNvPr>
          <p:cNvPicPr preferRelativeResize="0"/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83658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0568BE0-DB4C-435D-89A5-5D991A597FE4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 flip="none" rotWithShape="1">
            <a:gsLst>
              <a:gs pos="100000">
                <a:schemeClr val="tx1">
                  <a:lumMod val="50000"/>
                  <a:lumOff val="50000"/>
                </a:schemeClr>
              </a:gs>
              <a:gs pos="0">
                <a:schemeClr val="bg2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4A6247A-78AA-D94F-85BD-D3AC3AAFBD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0875" y="2608262"/>
            <a:ext cx="4446259" cy="3076836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16EB90B6-9EDF-B84E-B568-66A787D5B96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79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picture he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FB8B147-3FE0-6544-9992-6C17F3534EB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0875" y="1234654"/>
            <a:ext cx="4446259" cy="11227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rgbClr val="4F9E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C5BB6DD-3DC2-694E-A1E6-9E49FBF568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1323" y="334281"/>
            <a:ext cx="1260192" cy="566090"/>
          </a:xfrm>
          <a:prstGeom prst="rect">
            <a:avLst/>
          </a:prstGeom>
        </p:spPr>
      </p:pic>
      <p:pic>
        <p:nvPicPr>
          <p:cNvPr id="17" name="Google Shape;64;p1">
            <a:extLst>
              <a:ext uri="{FF2B5EF4-FFF2-40B4-BE49-F238E27FC236}">
                <a16:creationId xmlns:a16="http://schemas.microsoft.com/office/drawing/2014/main" id="{647DAE3D-0FE5-5B47-A03B-9C3F57581D6A}"/>
              </a:ext>
            </a:extLst>
          </p:cNvPr>
          <p:cNvPicPr preferRelativeResize="0"/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673808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6"/>
          <p:cNvSpPr/>
          <p:nvPr userDrawn="1"/>
        </p:nvSpPr>
        <p:spPr>
          <a:xfrm flipV="1">
            <a:off x="0" y="5"/>
            <a:ext cx="12192000" cy="914400"/>
          </a:xfrm>
          <a:prstGeom prst="round1Rect">
            <a:avLst>
              <a:gd name="adj" fmla="val 49531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09603" y="62059"/>
            <a:ext cx="9599696" cy="790295"/>
          </a:xfrm>
        </p:spPr>
        <p:txBody>
          <a:bodyPr anchor="ctr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Page Header Examp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569493"/>
            <a:ext cx="10972800" cy="45228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Cambria" charset="0"/>
                <a:ea typeface="Cambria" charset="0"/>
                <a:cs typeface="Cambria" charset="0"/>
              </a:defRPr>
            </a:lvl1pPr>
            <a:lvl2pPr>
              <a:defRPr sz="1800">
                <a:latin typeface="Cambria" charset="0"/>
                <a:ea typeface="Cambria" charset="0"/>
                <a:cs typeface="Cambria" charset="0"/>
              </a:defRPr>
            </a:lvl2pPr>
            <a:lvl3pPr marL="1142914" indent="-228584">
              <a:buFont typeface=".AppleSystemUIFont" charset="-120"/>
              <a:buChar char="-"/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emet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lvl="1"/>
            <a:r>
              <a:rPr lang="en-US"/>
              <a:t> Lorem ipsum dolor sit </a:t>
            </a:r>
            <a:r>
              <a:rPr lang="en-US" err="1"/>
              <a:t>emet</a:t>
            </a:r>
            <a:r>
              <a:rPr lang="en-US"/>
              <a:t>. </a:t>
            </a:r>
          </a:p>
          <a:p>
            <a:pPr lvl="2"/>
            <a:r>
              <a:rPr lang="en-US"/>
              <a:t>Lorem ipsum dolor sit </a:t>
            </a:r>
            <a:r>
              <a:rPr lang="en-US" err="1"/>
              <a:t>emet</a:t>
            </a:r>
            <a:r>
              <a:rPr lang="en-US"/>
              <a:t>.	</a:t>
            </a:r>
          </a:p>
          <a:p>
            <a:pPr lvl="2"/>
            <a:r>
              <a:rPr lang="en-US"/>
              <a:t>Lorem ipsum dolor sit lorem ipsum dolor sit </a:t>
            </a:r>
            <a:r>
              <a:rPr lang="en-US" err="1"/>
              <a:t>emet</a:t>
            </a:r>
            <a:r>
              <a:rPr lang="en-US"/>
              <a:t>.</a:t>
            </a:r>
          </a:p>
          <a:p>
            <a:pPr lvl="1"/>
            <a:r>
              <a:rPr lang="en-US"/>
              <a:t> Lorem ipsum dolor sit </a:t>
            </a:r>
            <a:r>
              <a:rPr lang="en-US" err="1"/>
              <a:t>emet</a:t>
            </a:r>
            <a:r>
              <a:rPr lang="en-US"/>
              <a:t>. </a:t>
            </a:r>
          </a:p>
          <a:p>
            <a:pPr lvl="2"/>
            <a:r>
              <a:rPr lang="en-US"/>
              <a:t>Lorem ipsum dolor sit </a:t>
            </a:r>
            <a:r>
              <a:rPr lang="en-US" err="1"/>
              <a:t>emet</a:t>
            </a:r>
            <a:r>
              <a:rPr lang="en-US"/>
              <a:t>.	</a:t>
            </a:r>
          </a:p>
          <a:p>
            <a:pPr lvl="2"/>
            <a:r>
              <a:rPr lang="en-US"/>
              <a:t>Lorem ipsum dolor sit lorem ipsum dolor sit </a:t>
            </a:r>
            <a:r>
              <a:rPr lang="en-US" err="1"/>
              <a:t>emet</a:t>
            </a:r>
            <a:r>
              <a:rPr lang="en-US"/>
              <a:t>.</a:t>
            </a:r>
          </a:p>
          <a:p>
            <a:pPr lvl="1"/>
            <a:r>
              <a:rPr lang="en-US"/>
              <a:t> Lorem ipsum dolor sit </a:t>
            </a:r>
            <a:r>
              <a:rPr lang="en-US" err="1"/>
              <a:t>emet</a:t>
            </a:r>
            <a:r>
              <a:rPr lang="en-US"/>
              <a:t>. </a:t>
            </a:r>
          </a:p>
          <a:p>
            <a:pPr lvl="2"/>
            <a:r>
              <a:rPr lang="en-US"/>
              <a:t>Lorem ipsum dolor sit </a:t>
            </a:r>
            <a:r>
              <a:rPr lang="en-US" err="1"/>
              <a:t>emet</a:t>
            </a:r>
            <a:r>
              <a:rPr lang="en-US"/>
              <a:t>.	</a:t>
            </a:r>
          </a:p>
          <a:p>
            <a:pPr lvl="2"/>
            <a:r>
              <a:rPr lang="en-US"/>
              <a:t>Lorem ipsum dolor sit lorem ipsum dolor sit </a:t>
            </a:r>
            <a:r>
              <a:rPr lang="en-US" err="1"/>
              <a:t>emet</a:t>
            </a:r>
            <a:r>
              <a:rPr lang="en-US"/>
              <a:t>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9536331" y="6416793"/>
            <a:ext cx="2046069" cy="319929"/>
          </a:xfrm>
          <a:prstGeom prst="rect">
            <a:avLst/>
          </a:prstGeom>
        </p:spPr>
        <p:txBody>
          <a:bodyPr/>
          <a:lstStyle>
            <a:lvl1pPr algn="r">
              <a:defRPr sz="1000"/>
            </a:lvl1pPr>
          </a:lstStyle>
          <a:p>
            <a:r>
              <a:rPr lang="en-US"/>
              <a:t>11/5/2020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4" y="6419982"/>
            <a:ext cx="2895600" cy="319929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cap="all" baseline="0" smtClean="0">
                <a:solidFill>
                  <a:schemeClr val="accent6"/>
                </a:solidFill>
                <a:effectLst/>
              </a:defRPr>
            </a:lvl1pPr>
          </a:lstStyle>
          <a:p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92707" y="287001"/>
            <a:ext cx="689693" cy="406181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</a:defRPr>
            </a:lvl1pPr>
          </a:lstStyle>
          <a:p>
            <a:fld id="{FA03715B-06FD-AD46-ADCA-96DA37DE3FF5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401546"/>
            <a:ext cx="1219200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10915916" y="287002"/>
            <a:ext cx="139473" cy="406181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0303" y="347072"/>
            <a:ext cx="370132" cy="27432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 flipH="1">
            <a:off x="9426603" y="6404033"/>
            <a:ext cx="109728" cy="319557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3159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0201497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07AC995C-95D1-4397-BF10-8E251DD567F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2DD76A7-C273-40DB-AE36-74D7792CA19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779"/>
            <a:ext cx="12192000" cy="6856442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9599" y="3248723"/>
            <a:ext cx="8478152" cy="502445"/>
          </a:xfrm>
          <a:prstGeom prst="rect">
            <a:avLst/>
          </a:prstGeom>
        </p:spPr>
        <p:txBody>
          <a:bodyPr anchor="b"/>
          <a:lstStyle>
            <a:lvl1pPr>
              <a:defRPr lang="x-none"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9599" y="4131961"/>
            <a:ext cx="8478152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2400" i="1" cap="none" baseline="0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609599" y="5880445"/>
            <a:ext cx="847815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6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EC73637-8D5A-4034-A5A5-27FBB2B06B3F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78906" y="89454"/>
            <a:ext cx="1371599" cy="783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0873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2893BB2-C317-4D86-B540-810C75FE708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6">
                  <a:lumMod val="79000"/>
                </a:schemeClr>
              </a:gs>
              <a:gs pos="0">
                <a:srgbClr val="92D050"/>
              </a:gs>
            </a:gsLst>
            <a:lin ang="540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40B0A5-683C-C540-975C-5826556A1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8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1643992-2422-8F44-AA8D-687E4F1ADB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1248" y="4370389"/>
            <a:ext cx="4989512" cy="2747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pic>
        <p:nvPicPr>
          <p:cNvPr id="17" name="Google Shape;64;p1">
            <a:extLst>
              <a:ext uri="{FF2B5EF4-FFF2-40B4-BE49-F238E27FC236}">
                <a16:creationId xmlns:a16="http://schemas.microsoft.com/office/drawing/2014/main" id="{FF48CED3-A786-754E-8C96-FAE8425880B5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322915"/>
            <a:ext cx="1132976" cy="4398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3B8E742-8FDE-CC45-BB80-FBB0F4FB53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F5677EC2-E542-4D1D-A864-1C53B890FE5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8227" y="0"/>
            <a:ext cx="63118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57238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8040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248815" y="769323"/>
            <a:ext cx="10425405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LogoText" hidden="1">
            <a:extLst>
              <a:ext uri="{FF2B5EF4-FFF2-40B4-BE49-F238E27FC236}">
                <a16:creationId xmlns:a16="http://schemas.microsoft.com/office/drawing/2014/main" id="{44DC7C6B-EC6D-45D1-B59D-D83E3D6C2B1A}"/>
              </a:ext>
            </a:extLst>
          </p:cNvPr>
          <p:cNvSpPr txBox="1"/>
          <p:nvPr userDrawn="1"/>
        </p:nvSpPr>
        <p:spPr>
          <a:xfrm>
            <a:off x="10524852" y="6645989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160773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ttuc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FC68633A-F872-D840-9094-D9535F60F32D}"/>
              </a:ext>
            </a:extLst>
          </p:cNvPr>
          <p:cNvSpPr txBox="1"/>
          <p:nvPr/>
        </p:nvSpPr>
        <p:spPr>
          <a:xfrm>
            <a:off x="609599" y="3254879"/>
            <a:ext cx="4943063" cy="584775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!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EA5EEC7-96CE-9A41-92F1-CDE9108055D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5" y="89454"/>
            <a:ext cx="1371600" cy="783771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29B5E53-178D-ED46-804D-3AA522357A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4131961"/>
            <a:ext cx="4943063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Name Surnam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5703F94-6946-9A4B-B4AF-5C56BE40B6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" y="4661178"/>
            <a:ext cx="4943063" cy="2862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ontact</a:t>
            </a:r>
          </a:p>
        </p:txBody>
      </p:sp>
    </p:spTree>
    <p:extLst>
      <p:ext uri="{BB962C8B-B14F-4D97-AF65-F5344CB8AC3E}">
        <p14:creationId xmlns:p14="http://schemas.microsoft.com/office/powerpoint/2010/main" val="39793737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1A6ED0-F474-4AD0-9BF9-81BF092A7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170767-F875-4A2C-B93C-C55B929AA5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35235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611539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ts Top Corn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0CBE898-80B3-104E-83C4-607EA7A2CE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73225"/>
            <a:ext cx="10515600" cy="535531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 spc="0">
                <a:solidFill>
                  <a:srgbClr val="465F7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4889EC9-F81A-FE4A-A4D6-6CE13F27DC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56997"/>
            <a:ext cx="10515600" cy="48254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5000"/>
              <a:buFont typeface="Arial" panose="020B0604020202020204" pitchFamily="34" charset="0"/>
              <a:buChar char="•"/>
              <a:defRPr sz="24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Courier New" panose="02070309020205020404" pitchFamily="49" charset="0"/>
              <a:buChar char="o"/>
              <a:defRPr sz="20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8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Courier New" panose="02070309020205020404" pitchFamily="49" charset="0"/>
              <a:buChar char="o"/>
              <a:defRPr sz="16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6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4EAA93-F449-B549-8920-A3581822AFAD}"/>
              </a:ext>
            </a:extLst>
          </p:cNvPr>
          <p:cNvSpPr txBox="1"/>
          <p:nvPr userDrawn="1"/>
        </p:nvSpPr>
        <p:spPr>
          <a:xfrm>
            <a:off x="9860967" y="6482415"/>
            <a:ext cx="21700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BBA41CD-4A47-E14F-9194-B2274EF489E2}" type="slidenum">
              <a:rPr lang="en-US" sz="1200" smtClean="0">
                <a:solidFill>
                  <a:srgbClr val="828587"/>
                </a:solidFill>
              </a:rPr>
              <a:pPr algn="r"/>
              <a:t>‹#›</a:t>
            </a:fld>
            <a:endParaRPr lang="en-US" sz="1400">
              <a:solidFill>
                <a:srgbClr val="828587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4DE8E5C-ADC4-814C-974E-D60E1CF6D4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1346" y="58424"/>
            <a:ext cx="2752230" cy="288663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55085D7-D5CA-F04F-B568-C8A40ECAC3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5" y="89453"/>
            <a:ext cx="1371600" cy="783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7530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841522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07AC995C-95D1-4397-BF10-8E251DD567F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2DD76A7-C273-40DB-AE36-74D7792CA19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779"/>
            <a:ext cx="12192000" cy="6856442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9599" y="3248723"/>
            <a:ext cx="8478152" cy="502445"/>
          </a:xfrm>
          <a:prstGeom prst="rect">
            <a:avLst/>
          </a:prstGeom>
        </p:spPr>
        <p:txBody>
          <a:bodyPr anchor="b"/>
          <a:lstStyle>
            <a:lvl1pPr>
              <a:defRPr lang="x-none"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9599" y="4131961"/>
            <a:ext cx="8478152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2400" i="1" cap="none" baseline="0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609599" y="5880445"/>
            <a:ext cx="847815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6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EC73637-8D5A-4034-A5A5-27FBB2B06B3F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78906" y="89454"/>
            <a:ext cx="1371599" cy="783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1463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95454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248815" y="769323"/>
            <a:ext cx="10425405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LogoText" hidden="1">
            <a:extLst>
              <a:ext uri="{FF2B5EF4-FFF2-40B4-BE49-F238E27FC236}">
                <a16:creationId xmlns:a16="http://schemas.microsoft.com/office/drawing/2014/main" id="{44DC7C6B-EC6D-45D1-B59D-D83E3D6C2B1A}"/>
              </a:ext>
            </a:extLst>
          </p:cNvPr>
          <p:cNvSpPr txBox="1"/>
          <p:nvPr userDrawn="1"/>
        </p:nvSpPr>
        <p:spPr>
          <a:xfrm>
            <a:off x="10524852" y="6645989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162806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ttuc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FC68633A-F872-D840-9094-D9535F60F32D}"/>
              </a:ext>
            </a:extLst>
          </p:cNvPr>
          <p:cNvSpPr txBox="1"/>
          <p:nvPr/>
        </p:nvSpPr>
        <p:spPr>
          <a:xfrm>
            <a:off x="609599" y="3254879"/>
            <a:ext cx="4943063" cy="584775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!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EA5EEC7-96CE-9A41-92F1-CDE9108055D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5" y="89454"/>
            <a:ext cx="1371600" cy="783771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29B5E53-178D-ED46-804D-3AA522357A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4131961"/>
            <a:ext cx="4943063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Name Surnam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5703F94-6946-9A4B-B4AF-5C56BE40B6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" y="4661178"/>
            <a:ext cx="4943063" cy="2862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ontact</a:t>
            </a:r>
          </a:p>
        </p:txBody>
      </p:sp>
    </p:spTree>
    <p:extLst>
      <p:ext uri="{BB962C8B-B14F-4D97-AF65-F5344CB8AC3E}">
        <p14:creationId xmlns:p14="http://schemas.microsoft.com/office/powerpoint/2010/main" val="32551698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1A6ED0-F474-4AD0-9BF9-81BF092A7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170767-F875-4A2C-B93C-C55B929AA5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60197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901426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2B5F89B-CE4A-4676-8D1F-E90F2144290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tx1">
                  <a:lumMod val="50000"/>
                  <a:lumOff val="50000"/>
                </a:schemeClr>
              </a:gs>
              <a:gs pos="0">
                <a:schemeClr val="bg2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40B0A5-683C-C540-975C-5826556A1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8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1643992-2422-8F44-AA8D-687E4F1ADB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1248" y="4370389"/>
            <a:ext cx="4989512" cy="2747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pic>
        <p:nvPicPr>
          <p:cNvPr id="17" name="Google Shape;64;p1">
            <a:extLst>
              <a:ext uri="{FF2B5EF4-FFF2-40B4-BE49-F238E27FC236}">
                <a16:creationId xmlns:a16="http://schemas.microsoft.com/office/drawing/2014/main" id="{FF48CED3-A786-754E-8C96-FAE8425880B5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322915"/>
            <a:ext cx="1132976" cy="4398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3B8E742-8FDE-CC45-BB80-FBB0F4FB53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75E4107E-98D9-4D54-9197-234F15F17C4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8227" y="0"/>
            <a:ext cx="63118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9879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ts Top Corn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0CBE898-80B3-104E-83C4-607EA7A2CE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73225"/>
            <a:ext cx="10515600" cy="535531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 spc="0">
                <a:solidFill>
                  <a:srgbClr val="465F7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4889EC9-F81A-FE4A-A4D6-6CE13F27DC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56997"/>
            <a:ext cx="10515600" cy="48254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5000"/>
              <a:buFont typeface="Arial" panose="020B0604020202020204" pitchFamily="34" charset="0"/>
              <a:buChar char="•"/>
              <a:defRPr sz="24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Courier New" panose="02070309020205020404" pitchFamily="49" charset="0"/>
              <a:buChar char="o"/>
              <a:defRPr sz="20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8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Courier New" panose="02070309020205020404" pitchFamily="49" charset="0"/>
              <a:buChar char="o"/>
              <a:defRPr sz="16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6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4EAA93-F449-B549-8920-A3581822AFAD}"/>
              </a:ext>
            </a:extLst>
          </p:cNvPr>
          <p:cNvSpPr txBox="1"/>
          <p:nvPr userDrawn="1"/>
        </p:nvSpPr>
        <p:spPr>
          <a:xfrm>
            <a:off x="9860967" y="6482415"/>
            <a:ext cx="21700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BBA41CD-4A47-E14F-9194-B2274EF489E2}" type="slidenum">
              <a:rPr lang="en-US" sz="1200" smtClean="0">
                <a:solidFill>
                  <a:srgbClr val="828587"/>
                </a:solidFill>
              </a:rPr>
              <a:pPr algn="r"/>
              <a:t>‹#›</a:t>
            </a:fld>
            <a:endParaRPr lang="en-US" sz="1400">
              <a:solidFill>
                <a:srgbClr val="828587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4DE8E5C-ADC4-814C-974E-D60E1CF6D4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1346" y="58424"/>
            <a:ext cx="2752230" cy="288663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55085D7-D5CA-F04F-B568-C8A40ECAC3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5" y="89453"/>
            <a:ext cx="1371600" cy="783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0597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429961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07AC995C-95D1-4397-BF10-8E251DD567F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2DD76A7-C273-40DB-AE36-74D7792CA19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779"/>
            <a:ext cx="12192000" cy="6856442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9599" y="3248723"/>
            <a:ext cx="8478152" cy="502445"/>
          </a:xfrm>
          <a:prstGeom prst="rect">
            <a:avLst/>
          </a:prstGeom>
        </p:spPr>
        <p:txBody>
          <a:bodyPr anchor="b"/>
          <a:lstStyle>
            <a:lvl1pPr>
              <a:defRPr lang="x-none"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9599" y="4131961"/>
            <a:ext cx="8478152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2400" i="1" cap="none" baseline="0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609599" y="5880445"/>
            <a:ext cx="847815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6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EC73637-8D5A-4034-A5A5-27FBB2B06B3F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78906" y="89454"/>
            <a:ext cx="1371599" cy="783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98479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898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248815" y="769323"/>
            <a:ext cx="10425405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LogoText" hidden="1">
            <a:extLst>
              <a:ext uri="{FF2B5EF4-FFF2-40B4-BE49-F238E27FC236}">
                <a16:creationId xmlns:a16="http://schemas.microsoft.com/office/drawing/2014/main" id="{44DC7C6B-EC6D-45D1-B59D-D83E3D6C2B1A}"/>
              </a:ext>
            </a:extLst>
          </p:cNvPr>
          <p:cNvSpPr txBox="1"/>
          <p:nvPr userDrawn="1"/>
        </p:nvSpPr>
        <p:spPr>
          <a:xfrm>
            <a:off x="10524852" y="6645989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0943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ttuc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FC68633A-F872-D840-9094-D9535F60F32D}"/>
              </a:ext>
            </a:extLst>
          </p:cNvPr>
          <p:cNvSpPr txBox="1"/>
          <p:nvPr/>
        </p:nvSpPr>
        <p:spPr>
          <a:xfrm>
            <a:off x="609599" y="3254879"/>
            <a:ext cx="4943063" cy="584775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!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EA5EEC7-96CE-9A41-92F1-CDE9108055D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5" y="89454"/>
            <a:ext cx="1371600" cy="783771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29B5E53-178D-ED46-804D-3AA522357A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4131961"/>
            <a:ext cx="4943063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Name Surnam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5703F94-6946-9A4B-B4AF-5C56BE40B6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" y="4661178"/>
            <a:ext cx="4943063" cy="2862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ontact</a:t>
            </a:r>
          </a:p>
        </p:txBody>
      </p:sp>
    </p:spTree>
    <p:extLst>
      <p:ext uri="{BB962C8B-B14F-4D97-AF65-F5344CB8AC3E}">
        <p14:creationId xmlns:p14="http://schemas.microsoft.com/office/powerpoint/2010/main" val="78143409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1A6ED0-F474-4AD0-9BF9-81BF092A7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170767-F875-4A2C-B93C-C55B929AA5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74693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52650887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ts Top Corn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0CBE898-80B3-104E-83C4-607EA7A2CE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73225"/>
            <a:ext cx="10515600" cy="535531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 spc="0">
                <a:solidFill>
                  <a:srgbClr val="465F7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4889EC9-F81A-FE4A-A4D6-6CE13F27DC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56997"/>
            <a:ext cx="10515600" cy="48254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5000"/>
              <a:buFont typeface="Arial" panose="020B0604020202020204" pitchFamily="34" charset="0"/>
              <a:buChar char="•"/>
              <a:defRPr sz="24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Courier New" panose="02070309020205020404" pitchFamily="49" charset="0"/>
              <a:buChar char="o"/>
              <a:defRPr sz="20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8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Courier New" panose="02070309020205020404" pitchFamily="49" charset="0"/>
              <a:buChar char="o"/>
              <a:defRPr sz="16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6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4EAA93-F449-B549-8920-A3581822AFAD}"/>
              </a:ext>
            </a:extLst>
          </p:cNvPr>
          <p:cNvSpPr txBox="1"/>
          <p:nvPr userDrawn="1"/>
        </p:nvSpPr>
        <p:spPr>
          <a:xfrm>
            <a:off x="9860967" y="6482415"/>
            <a:ext cx="21700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BBA41CD-4A47-E14F-9194-B2274EF489E2}" type="slidenum">
              <a:rPr lang="en-US" sz="1200" smtClean="0">
                <a:solidFill>
                  <a:srgbClr val="828587"/>
                </a:solidFill>
              </a:rPr>
              <a:pPr algn="r"/>
              <a:t>‹#›</a:t>
            </a:fld>
            <a:endParaRPr lang="en-US" sz="1400">
              <a:solidFill>
                <a:srgbClr val="828587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4DE8E5C-ADC4-814C-974E-D60E1CF6D4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1346" y="58424"/>
            <a:ext cx="2752230" cy="288663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55085D7-D5CA-F04F-B568-C8A40ECAC3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5" y="89453"/>
            <a:ext cx="1371600" cy="783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31060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A494F9A6-5B1F-6E42-84BD-4836FCA4FC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3248723"/>
            <a:ext cx="6321287" cy="53553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l"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Main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FC9092F-B834-C748-AB22-1D56B5A76F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4131961"/>
            <a:ext cx="6321288" cy="4247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4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CDD4647-5458-1449-9A7F-475E4C6C4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6" y="89454"/>
            <a:ext cx="1371599" cy="783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69315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3F93366A-CB10-0647-9460-971470DD96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3248723"/>
            <a:ext cx="6321287" cy="53553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l"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Main Tit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E12C719-A2D0-BD40-83E9-5F65157AE9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4131961"/>
            <a:ext cx="6321288" cy="4247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4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12DA0D-A2CD-FA40-B64F-0CCC5EA815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6" y="89454"/>
            <a:ext cx="1371599" cy="783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4094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nol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A494F9A6-5B1F-6E42-84BD-4836FCA4FC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3248723"/>
            <a:ext cx="6321287" cy="53553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l"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Main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FC9092F-B834-C748-AB22-1D56B5A76F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4131961"/>
            <a:ext cx="6321288" cy="4247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4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185D8A1-29D9-C34C-A67C-24524712EF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6" y="89454"/>
            <a:ext cx="1371599" cy="783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252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wearing a hat&#10;&#10;Description automatically generated">
            <a:extLst>
              <a:ext uri="{FF2B5EF4-FFF2-40B4-BE49-F238E27FC236}">
                <a16:creationId xmlns:a16="http://schemas.microsoft.com/office/drawing/2014/main" id="{8AFC385C-F8F3-4C58-954B-23562F45EB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40B0A5-683C-C540-975C-5826556A1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4960" y="2766218"/>
            <a:ext cx="5663081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7101DCD-79A0-1343-AF75-493E482D1C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pic>
        <p:nvPicPr>
          <p:cNvPr id="8" name="Google Shape;64;p1">
            <a:extLst>
              <a:ext uri="{FF2B5EF4-FFF2-40B4-BE49-F238E27FC236}">
                <a16:creationId xmlns:a16="http://schemas.microsoft.com/office/drawing/2014/main" id="{922F8EEF-74E1-9D47-BB05-52EEF600CA02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3796009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A494F9A6-5B1F-6E42-84BD-4836FCA4FC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3248723"/>
            <a:ext cx="6321287" cy="53553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l"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Main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FC9092F-B834-C748-AB22-1D56B5A76F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4131961"/>
            <a:ext cx="6321288" cy="4247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4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5A2F6A-B988-354E-A5C9-287BCB3313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6" y="89454"/>
            <a:ext cx="1371599" cy="783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3793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ttuc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A494F9A6-5B1F-6E42-84BD-4836FCA4FC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3248723"/>
            <a:ext cx="6321287" cy="53553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l"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Main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FC9092F-B834-C748-AB22-1D56B5A76F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4131961"/>
            <a:ext cx="6321288" cy="4247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4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A4EB754-D6F9-8C41-9CC9-378A76FBB0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6" y="89454"/>
            <a:ext cx="1371599" cy="783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08731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tt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A494F9A6-5B1F-6E42-84BD-4836FCA4FC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3248723"/>
            <a:ext cx="6321287" cy="53553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l"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Main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FC9092F-B834-C748-AB22-1D56B5A76F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4131961"/>
            <a:ext cx="6321288" cy="4247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4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974D2DE-C2C0-A54A-BD04-DD0B0678DB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6" y="89454"/>
            <a:ext cx="1371599" cy="783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34054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ea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A494F9A6-5B1F-6E42-84BD-4836FCA4FC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3248723"/>
            <a:ext cx="6321287" cy="53553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l"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Main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FC9092F-B834-C748-AB22-1D56B5A76F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4131961"/>
            <a:ext cx="6321288" cy="4247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4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C11C46C-42B3-254E-9696-69440EC3A6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6" y="89454"/>
            <a:ext cx="1371599" cy="783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1519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 Single Corner Rectangle 6">
            <a:extLst>
              <a:ext uri="{FF2B5EF4-FFF2-40B4-BE49-F238E27FC236}">
                <a16:creationId xmlns:a16="http://schemas.microsoft.com/office/drawing/2014/main" id="{C3BF0BD0-9FA1-4BD5-991C-4A55D82571F7}"/>
              </a:ext>
            </a:extLst>
          </p:cNvPr>
          <p:cNvSpPr/>
          <p:nvPr/>
        </p:nvSpPr>
        <p:spPr>
          <a:xfrm flipV="1">
            <a:off x="0" y="-1"/>
            <a:ext cx="12192000" cy="881691"/>
          </a:xfrm>
          <a:prstGeom prst="round1Rect">
            <a:avLst>
              <a:gd name="adj" fmla="val 49531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"/>
            <a:ext cx="10119146" cy="881690"/>
          </a:xfrm>
        </p:spPr>
        <p:txBody>
          <a:bodyPr anchor="ctr"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Page Header Examp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36074"/>
            <a:ext cx="11277600" cy="4956224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>
              <a:defRPr sz="1800"/>
            </a:lvl2pPr>
            <a:lvl3pPr marL="1143000" indent="-228600">
              <a:buFont typeface=".AppleSystemUIFont" charset="-120"/>
              <a:buChar char="-"/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281138" y="6416784"/>
            <a:ext cx="1453661" cy="319929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" y="6450034"/>
            <a:ext cx="2171700" cy="319929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600" smtClean="0">
                <a:solidFill>
                  <a:schemeClr val="accent6"/>
                </a:solidFill>
                <a:effectLst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51655" y="237620"/>
            <a:ext cx="383144" cy="466342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FA03715B-06FD-AD46-ADCA-96DA37DE3FF5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401546"/>
            <a:ext cx="1219200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H="1">
            <a:off x="11276918" y="145091"/>
            <a:ext cx="167756" cy="651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8100" y="251770"/>
            <a:ext cx="443829" cy="438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3006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wearing a hat&#10;&#10;Description automatically generated">
            <a:extLst>
              <a:ext uri="{FF2B5EF4-FFF2-40B4-BE49-F238E27FC236}">
                <a16:creationId xmlns:a16="http://schemas.microsoft.com/office/drawing/2014/main" id="{F118A260-3A94-4270-A95C-178D84F65D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FF2C509-D29E-3846-B909-6697D9A86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4960" y="2766218"/>
            <a:ext cx="5686328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395EEAA-CFA9-C849-B59A-9BECC5E50D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pic>
        <p:nvPicPr>
          <p:cNvPr id="11" name="Google Shape;64;p1">
            <a:extLst>
              <a:ext uri="{FF2B5EF4-FFF2-40B4-BE49-F238E27FC236}">
                <a16:creationId xmlns:a16="http://schemas.microsoft.com/office/drawing/2014/main" id="{077B395F-5E0D-0C45-A126-945CB65B04C6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290802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wearing a hat&#10;&#10;Description automatically generated">
            <a:extLst>
              <a:ext uri="{FF2B5EF4-FFF2-40B4-BE49-F238E27FC236}">
                <a16:creationId xmlns:a16="http://schemas.microsoft.com/office/drawing/2014/main" id="{1D89F793-6416-4044-B7DC-2DA797DC5F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57C705A-D85B-144E-B4D7-7150AA0507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4960" y="2766218"/>
            <a:ext cx="5686328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AC2E9A2-E3C7-D74D-A187-BC661853C1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pic>
        <p:nvPicPr>
          <p:cNvPr id="11" name="Google Shape;64;p1">
            <a:extLst>
              <a:ext uri="{FF2B5EF4-FFF2-40B4-BE49-F238E27FC236}">
                <a16:creationId xmlns:a16="http://schemas.microsoft.com/office/drawing/2014/main" id="{FFEAF0B2-70B6-024E-BE6F-F64B49BA65C1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549124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man, building, object, window&#10;&#10;Description automatically generated">
            <a:extLst>
              <a:ext uri="{FF2B5EF4-FFF2-40B4-BE49-F238E27FC236}">
                <a16:creationId xmlns:a16="http://schemas.microsoft.com/office/drawing/2014/main" id="{54344DED-E3E5-4724-8CF7-86C3DEF87C8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196FC696-AD69-E54D-80EB-7D74DEB727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4960" y="2299079"/>
            <a:ext cx="5601087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A2524C9-F62A-0A4A-81AD-EE24AF881D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pic>
        <p:nvPicPr>
          <p:cNvPr id="12" name="Google Shape;64;p1">
            <a:extLst>
              <a:ext uri="{FF2B5EF4-FFF2-40B4-BE49-F238E27FC236}">
                <a16:creationId xmlns:a16="http://schemas.microsoft.com/office/drawing/2014/main" id="{A98D2B31-FFCB-6E4B-95D9-6834D84E14B0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237858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77062AB0-55D5-4223-ACF3-212E719205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9618" y="0"/>
            <a:ext cx="6313307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40B0A5-683C-C540-975C-5826556A1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8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1643992-2422-8F44-AA8D-687E4F1ADB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1248" y="4370389"/>
            <a:ext cx="4989512" cy="2747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pic>
        <p:nvPicPr>
          <p:cNvPr id="11" name="Google Shape;22;p22">
            <a:extLst>
              <a:ext uri="{FF2B5EF4-FFF2-40B4-BE49-F238E27FC236}">
                <a16:creationId xmlns:a16="http://schemas.microsoft.com/office/drawing/2014/main" id="{3305BB55-A1B2-8B4D-884B-DA14166BA91C}"/>
              </a:ext>
            </a:extLst>
          </p:cNvPr>
          <p:cNvPicPr preferRelativeResize="0"/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2" y="308978"/>
            <a:ext cx="1132975" cy="457254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60F44C-FE4A-8246-B992-6577846A05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1323" y="334281"/>
            <a:ext cx="1260192" cy="566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3858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tags" Target="../tags/tag19.xml"/><Relationship Id="rId39" Type="http://schemas.openxmlformats.org/officeDocument/2006/relationships/tags" Target="../tags/tag32.xml"/><Relationship Id="rId3" Type="http://schemas.openxmlformats.org/officeDocument/2006/relationships/slideLayout" Target="../slideLayouts/slideLayout31.xml"/><Relationship Id="rId21" Type="http://schemas.openxmlformats.org/officeDocument/2006/relationships/tags" Target="../tags/tag14.xml"/><Relationship Id="rId34" Type="http://schemas.openxmlformats.org/officeDocument/2006/relationships/tags" Target="../tags/tag27.xml"/><Relationship Id="rId42" Type="http://schemas.openxmlformats.org/officeDocument/2006/relationships/image" Target="../media/image31.png"/><Relationship Id="rId7" Type="http://schemas.openxmlformats.org/officeDocument/2006/relationships/theme" Target="../theme/theme2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33" Type="http://schemas.openxmlformats.org/officeDocument/2006/relationships/tags" Target="../tags/tag26.xml"/><Relationship Id="rId38" Type="http://schemas.openxmlformats.org/officeDocument/2006/relationships/tags" Target="../tags/tag31.xml"/><Relationship Id="rId2" Type="http://schemas.openxmlformats.org/officeDocument/2006/relationships/slideLayout" Target="../slideLayouts/slideLayout30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29" Type="http://schemas.openxmlformats.org/officeDocument/2006/relationships/tags" Target="../tags/tag22.xml"/><Relationship Id="rId41" Type="http://schemas.openxmlformats.org/officeDocument/2006/relationships/image" Target="../media/image30.emf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32" Type="http://schemas.openxmlformats.org/officeDocument/2006/relationships/tags" Target="../tags/tag25.xml"/><Relationship Id="rId37" Type="http://schemas.openxmlformats.org/officeDocument/2006/relationships/tags" Target="../tags/tag30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33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tags" Target="../tags/tag21.xml"/><Relationship Id="rId36" Type="http://schemas.openxmlformats.org/officeDocument/2006/relationships/tags" Target="../tags/tag29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31" Type="http://schemas.openxmlformats.org/officeDocument/2006/relationships/tags" Target="../tags/tag24.xml"/><Relationship Id="rId4" Type="http://schemas.openxmlformats.org/officeDocument/2006/relationships/slideLayout" Target="../slideLayouts/slideLayout32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tags" Target="../tags/tag20.xml"/><Relationship Id="rId30" Type="http://schemas.openxmlformats.org/officeDocument/2006/relationships/tags" Target="../tags/tag23.xml"/><Relationship Id="rId35" Type="http://schemas.openxmlformats.org/officeDocument/2006/relationships/tags" Target="../tags/tag28.xml"/><Relationship Id="rId43" Type="http://schemas.openxmlformats.org/officeDocument/2006/relationships/image" Target="../media/image3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tags" Target="../tags/tag55.xml"/><Relationship Id="rId18" Type="http://schemas.openxmlformats.org/officeDocument/2006/relationships/tags" Target="../tags/tag60.xml"/><Relationship Id="rId26" Type="http://schemas.openxmlformats.org/officeDocument/2006/relationships/tags" Target="../tags/tag68.xml"/><Relationship Id="rId39" Type="http://schemas.openxmlformats.org/officeDocument/2006/relationships/tags" Target="../tags/tag81.xml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63.xml"/><Relationship Id="rId34" Type="http://schemas.openxmlformats.org/officeDocument/2006/relationships/tags" Target="../tags/tag76.xml"/><Relationship Id="rId42" Type="http://schemas.openxmlformats.org/officeDocument/2006/relationships/image" Target="../media/image31.png"/><Relationship Id="rId7" Type="http://schemas.openxmlformats.org/officeDocument/2006/relationships/theme" Target="../theme/theme3.xml"/><Relationship Id="rId12" Type="http://schemas.openxmlformats.org/officeDocument/2006/relationships/tags" Target="../tags/tag54.xml"/><Relationship Id="rId17" Type="http://schemas.openxmlformats.org/officeDocument/2006/relationships/tags" Target="../tags/tag59.xml"/><Relationship Id="rId25" Type="http://schemas.openxmlformats.org/officeDocument/2006/relationships/tags" Target="../tags/tag67.xml"/><Relationship Id="rId33" Type="http://schemas.openxmlformats.org/officeDocument/2006/relationships/tags" Target="../tags/tag75.xml"/><Relationship Id="rId38" Type="http://schemas.openxmlformats.org/officeDocument/2006/relationships/tags" Target="../tags/tag80.xml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58.xml"/><Relationship Id="rId20" Type="http://schemas.openxmlformats.org/officeDocument/2006/relationships/tags" Target="../tags/tag62.xml"/><Relationship Id="rId29" Type="http://schemas.openxmlformats.org/officeDocument/2006/relationships/tags" Target="../tags/tag71.xml"/><Relationship Id="rId41" Type="http://schemas.openxmlformats.org/officeDocument/2006/relationships/image" Target="../media/image30.emf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tags" Target="../tags/tag53.xml"/><Relationship Id="rId24" Type="http://schemas.openxmlformats.org/officeDocument/2006/relationships/tags" Target="../tags/tag66.xml"/><Relationship Id="rId32" Type="http://schemas.openxmlformats.org/officeDocument/2006/relationships/tags" Target="../tags/tag74.xml"/><Relationship Id="rId37" Type="http://schemas.openxmlformats.org/officeDocument/2006/relationships/tags" Target="../tags/tag79.xml"/><Relationship Id="rId40" Type="http://schemas.openxmlformats.org/officeDocument/2006/relationships/oleObject" Target="../embeddings/oleObject5.bin"/><Relationship Id="rId5" Type="http://schemas.openxmlformats.org/officeDocument/2006/relationships/slideLayout" Target="../slideLayouts/slideLayout39.xml"/><Relationship Id="rId15" Type="http://schemas.openxmlformats.org/officeDocument/2006/relationships/tags" Target="../tags/tag57.xml"/><Relationship Id="rId23" Type="http://schemas.openxmlformats.org/officeDocument/2006/relationships/tags" Target="../tags/tag65.xml"/><Relationship Id="rId28" Type="http://schemas.openxmlformats.org/officeDocument/2006/relationships/tags" Target="../tags/tag70.xml"/><Relationship Id="rId36" Type="http://schemas.openxmlformats.org/officeDocument/2006/relationships/tags" Target="../tags/tag78.xml"/><Relationship Id="rId10" Type="http://schemas.openxmlformats.org/officeDocument/2006/relationships/tags" Target="../tags/tag52.xml"/><Relationship Id="rId19" Type="http://schemas.openxmlformats.org/officeDocument/2006/relationships/tags" Target="../tags/tag61.xml"/><Relationship Id="rId31" Type="http://schemas.openxmlformats.org/officeDocument/2006/relationships/tags" Target="../tags/tag73.xml"/><Relationship Id="rId4" Type="http://schemas.openxmlformats.org/officeDocument/2006/relationships/slideLayout" Target="../slideLayouts/slideLayout38.xml"/><Relationship Id="rId9" Type="http://schemas.openxmlformats.org/officeDocument/2006/relationships/tags" Target="../tags/tag51.xml"/><Relationship Id="rId14" Type="http://schemas.openxmlformats.org/officeDocument/2006/relationships/tags" Target="../tags/tag56.xml"/><Relationship Id="rId22" Type="http://schemas.openxmlformats.org/officeDocument/2006/relationships/tags" Target="../tags/tag64.xml"/><Relationship Id="rId27" Type="http://schemas.openxmlformats.org/officeDocument/2006/relationships/tags" Target="../tags/tag69.xml"/><Relationship Id="rId30" Type="http://schemas.openxmlformats.org/officeDocument/2006/relationships/tags" Target="../tags/tag72.xml"/><Relationship Id="rId35" Type="http://schemas.openxmlformats.org/officeDocument/2006/relationships/tags" Target="../tags/tag77.xml"/><Relationship Id="rId43" Type="http://schemas.openxmlformats.org/officeDocument/2006/relationships/image" Target="../media/image3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tags" Target="../tags/tag104.xml"/><Relationship Id="rId18" Type="http://schemas.openxmlformats.org/officeDocument/2006/relationships/tags" Target="../tags/tag109.xml"/><Relationship Id="rId26" Type="http://schemas.openxmlformats.org/officeDocument/2006/relationships/tags" Target="../tags/tag117.xml"/><Relationship Id="rId39" Type="http://schemas.openxmlformats.org/officeDocument/2006/relationships/tags" Target="../tags/tag130.xml"/><Relationship Id="rId3" Type="http://schemas.openxmlformats.org/officeDocument/2006/relationships/slideLayout" Target="../slideLayouts/slideLayout43.xml"/><Relationship Id="rId21" Type="http://schemas.openxmlformats.org/officeDocument/2006/relationships/tags" Target="../tags/tag112.xml"/><Relationship Id="rId34" Type="http://schemas.openxmlformats.org/officeDocument/2006/relationships/tags" Target="../tags/tag125.xml"/><Relationship Id="rId42" Type="http://schemas.openxmlformats.org/officeDocument/2006/relationships/image" Target="../media/image31.png"/><Relationship Id="rId7" Type="http://schemas.openxmlformats.org/officeDocument/2006/relationships/theme" Target="../theme/theme4.xml"/><Relationship Id="rId12" Type="http://schemas.openxmlformats.org/officeDocument/2006/relationships/tags" Target="../tags/tag103.xml"/><Relationship Id="rId17" Type="http://schemas.openxmlformats.org/officeDocument/2006/relationships/tags" Target="../tags/tag108.xml"/><Relationship Id="rId25" Type="http://schemas.openxmlformats.org/officeDocument/2006/relationships/tags" Target="../tags/tag116.xml"/><Relationship Id="rId33" Type="http://schemas.openxmlformats.org/officeDocument/2006/relationships/tags" Target="../tags/tag124.xml"/><Relationship Id="rId38" Type="http://schemas.openxmlformats.org/officeDocument/2006/relationships/tags" Target="../tags/tag129.xml"/><Relationship Id="rId2" Type="http://schemas.openxmlformats.org/officeDocument/2006/relationships/slideLayout" Target="../slideLayouts/slideLayout42.xml"/><Relationship Id="rId16" Type="http://schemas.openxmlformats.org/officeDocument/2006/relationships/tags" Target="../tags/tag107.xml"/><Relationship Id="rId20" Type="http://schemas.openxmlformats.org/officeDocument/2006/relationships/tags" Target="../tags/tag111.xml"/><Relationship Id="rId29" Type="http://schemas.openxmlformats.org/officeDocument/2006/relationships/tags" Target="../tags/tag120.xml"/><Relationship Id="rId41" Type="http://schemas.openxmlformats.org/officeDocument/2006/relationships/image" Target="../media/image30.emf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102.xml"/><Relationship Id="rId24" Type="http://schemas.openxmlformats.org/officeDocument/2006/relationships/tags" Target="../tags/tag115.xml"/><Relationship Id="rId32" Type="http://schemas.openxmlformats.org/officeDocument/2006/relationships/tags" Target="../tags/tag123.xml"/><Relationship Id="rId37" Type="http://schemas.openxmlformats.org/officeDocument/2006/relationships/tags" Target="../tags/tag128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45.xml"/><Relationship Id="rId15" Type="http://schemas.openxmlformats.org/officeDocument/2006/relationships/tags" Target="../tags/tag106.xml"/><Relationship Id="rId23" Type="http://schemas.openxmlformats.org/officeDocument/2006/relationships/tags" Target="../tags/tag114.xml"/><Relationship Id="rId28" Type="http://schemas.openxmlformats.org/officeDocument/2006/relationships/tags" Target="../tags/tag119.xml"/><Relationship Id="rId36" Type="http://schemas.openxmlformats.org/officeDocument/2006/relationships/tags" Target="../tags/tag127.xml"/><Relationship Id="rId10" Type="http://schemas.openxmlformats.org/officeDocument/2006/relationships/tags" Target="../tags/tag101.xml"/><Relationship Id="rId19" Type="http://schemas.openxmlformats.org/officeDocument/2006/relationships/tags" Target="../tags/tag110.xml"/><Relationship Id="rId31" Type="http://schemas.openxmlformats.org/officeDocument/2006/relationships/tags" Target="../tags/tag122.xml"/><Relationship Id="rId4" Type="http://schemas.openxmlformats.org/officeDocument/2006/relationships/slideLayout" Target="../slideLayouts/slideLayout44.xml"/><Relationship Id="rId9" Type="http://schemas.openxmlformats.org/officeDocument/2006/relationships/tags" Target="../tags/tag100.xml"/><Relationship Id="rId14" Type="http://schemas.openxmlformats.org/officeDocument/2006/relationships/tags" Target="../tags/tag105.xml"/><Relationship Id="rId22" Type="http://schemas.openxmlformats.org/officeDocument/2006/relationships/tags" Target="../tags/tag113.xml"/><Relationship Id="rId27" Type="http://schemas.openxmlformats.org/officeDocument/2006/relationships/tags" Target="../tags/tag118.xml"/><Relationship Id="rId30" Type="http://schemas.openxmlformats.org/officeDocument/2006/relationships/tags" Target="../tags/tag121.xml"/><Relationship Id="rId35" Type="http://schemas.openxmlformats.org/officeDocument/2006/relationships/tags" Target="../tags/tag126.xml"/><Relationship Id="rId43" Type="http://schemas.openxmlformats.org/officeDocument/2006/relationships/image" Target="../media/image3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Relationship Id="rId9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9077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8978007"/>
              </p:ext>
            </p:ext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248815" y="769323"/>
            <a:ext cx="1042540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71623" y="2548652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58" name="4. Footnote" hidden="1">
            <a:extLst>
              <a:ext uri="{FF2B5EF4-FFF2-40B4-BE49-F238E27FC236}">
                <a16:creationId xmlns:a16="http://schemas.microsoft.com/office/drawing/2014/main" id="{95D715E0-DF29-4590-BD3A-18793C7800A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48815" y="6190595"/>
            <a:ext cx="11638656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defPPr>
              <a:defRPr lang="en-US"/>
            </a:defPPr>
            <a:lvl1pPr marL="84138" indent="-84138" defTabSz="895350">
              <a:defRPr sz="800" baseline="0">
                <a:solidFill>
                  <a:schemeClr val="accent6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/>
              <a:t>1 Footnote</a:t>
            </a:r>
          </a:p>
        </p:txBody>
      </p:sp>
      <p:sp>
        <p:nvSpPr>
          <p:cNvPr id="60" name="5. Source" hidden="1">
            <a:extLst>
              <a:ext uri="{FF2B5EF4-FFF2-40B4-BE49-F238E27FC236}">
                <a16:creationId xmlns:a16="http://schemas.microsoft.com/office/drawing/2014/main" id="{6D6DE404-AC59-49FA-8D56-FC8D0027819C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8815" y="6358982"/>
            <a:ext cx="11638656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519113" indent="-519113" defTabSz="1218026"/>
            <a:r>
              <a:rPr lang="en-US" sz="800">
                <a:solidFill>
                  <a:schemeClr val="accent6"/>
                </a:solidFill>
                <a:latin typeface="+mn-lt"/>
              </a:rPr>
              <a:t>SOURCE: 	Source </a:t>
            </a:r>
          </a:p>
        </p:txBody>
      </p:sp>
      <p:sp>
        <p:nvSpPr>
          <p:cNvPr id="62" name="1. On-page tracker" hidden="1">
            <a:extLst>
              <a:ext uri="{FF2B5EF4-FFF2-40B4-BE49-F238E27FC236}">
                <a16:creationId xmlns:a16="http://schemas.microsoft.com/office/drawing/2014/main" id="{E934690F-C9A6-4C5E-8016-C4D7527D05F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8815" y="5864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3" name="3. Unit of measure" hidden="1">
            <a:extLst>
              <a:ext uri="{FF2B5EF4-FFF2-40B4-BE49-F238E27FC236}">
                <a16:creationId xmlns:a16="http://schemas.microsoft.com/office/drawing/2014/main" id="{5E737A52-7B61-4E29-9F44-91B41516C3E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48815" y="1103395"/>
            <a:ext cx="1042540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BE45757-4655-4190-BFCF-74F5CA6E0226}"/>
              </a:ext>
            </a:extLst>
          </p:cNvPr>
          <p:cNvSpPr txBox="1"/>
          <p:nvPr/>
        </p:nvSpPr>
        <p:spPr>
          <a:xfrm>
            <a:off x="148551" y="6482415"/>
            <a:ext cx="3394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rgbClr val="828587"/>
                </a:solidFill>
              </a:rPr>
              <a:t>CONFIDENTIAL</a:t>
            </a:r>
            <a:endParaRPr lang="en-US" sz="1100">
              <a:solidFill>
                <a:srgbClr val="828587"/>
              </a:solidFill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0B555ED-1EC0-4B29-BE31-9D30BF1466A5}"/>
              </a:ext>
            </a:extLst>
          </p:cNvPr>
          <p:cNvSpPr txBox="1"/>
          <p:nvPr/>
        </p:nvSpPr>
        <p:spPr>
          <a:xfrm>
            <a:off x="9860967" y="6482415"/>
            <a:ext cx="21700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BBA41CD-4A47-E14F-9194-B2274EF489E2}" type="slidenum">
              <a:rPr lang="en-US" sz="1200" smtClean="0">
                <a:solidFill>
                  <a:srgbClr val="828587"/>
                </a:solidFill>
              </a:rPr>
              <a:pPr algn="r"/>
              <a:t>‹#›</a:t>
            </a:fld>
            <a:endParaRPr lang="en-US" sz="1400">
              <a:solidFill>
                <a:srgbClr val="828587"/>
              </a:solidFill>
            </a:endParaRP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27AAA8D6-2824-472C-BA2A-49D70A32D209}"/>
              </a:ext>
            </a:extLst>
          </p:cNvPr>
          <p:cNvPicPr>
            <a:picLocks noChangeAspect="1"/>
          </p:cNvPicPr>
          <p:nvPr/>
        </p:nvPicPr>
        <p:blipFill>
          <a:blip r:embed="rId4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5" y="89453"/>
            <a:ext cx="1371600" cy="783772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CD311278-5B86-4AF9-8479-CF60F3303951}"/>
              </a:ext>
            </a:extLst>
          </p:cNvPr>
          <p:cNvPicPr>
            <a:picLocks noChangeAspect="1"/>
          </p:cNvPicPr>
          <p:nvPr/>
        </p:nvPicPr>
        <p:blipFill>
          <a:blip r:embed="rId4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8565" y="44825"/>
            <a:ext cx="2752230" cy="2886634"/>
          </a:xfrm>
          <a:prstGeom prst="rect">
            <a:avLst/>
          </a:prstGeom>
        </p:spPr>
      </p:pic>
      <p:grpSp>
        <p:nvGrpSpPr>
          <p:cNvPr id="59" name="LegendBoxes" hidden="1"/>
          <p:cNvGrpSpPr>
            <a:grpSpLocks/>
          </p:cNvGrpSpPr>
          <p:nvPr/>
        </p:nvGrpSpPr>
        <p:grpSpPr bwMode="auto">
          <a:xfrm>
            <a:off x="9910632" y="830091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/>
        </p:nvGrpSpPr>
        <p:grpSpPr bwMode="auto">
          <a:xfrm>
            <a:off x="9602657" y="830091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/>
        </p:nvGrpSpPr>
        <p:grpSpPr bwMode="auto">
          <a:xfrm>
            <a:off x="9949214" y="830091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8" name="LegendMoons" hidden="1">
            <a:extLst>
              <a:ext uri="{FF2B5EF4-FFF2-40B4-BE49-F238E27FC236}">
                <a16:creationId xmlns:a16="http://schemas.microsoft.com/office/drawing/2014/main" id="{6043DDE7-5611-452C-8022-8C6F8076F2B1}"/>
              </a:ext>
            </a:extLst>
          </p:cNvPr>
          <p:cNvGrpSpPr/>
          <p:nvPr/>
        </p:nvGrpSpPr>
        <p:grpSpPr bwMode="auto">
          <a:xfrm>
            <a:off x="9843790" y="830091"/>
            <a:ext cx="830430" cy="1306516"/>
            <a:chOff x="6655594" y="273840"/>
            <a:chExt cx="830430" cy="1306516"/>
          </a:xfrm>
        </p:grpSpPr>
        <p:grpSp>
          <p:nvGrpSpPr>
            <p:cNvPr id="69" name="MoonLegend1">
              <a:extLst>
                <a:ext uri="{FF2B5EF4-FFF2-40B4-BE49-F238E27FC236}">
                  <a16:creationId xmlns:a16="http://schemas.microsoft.com/office/drawing/2014/main" id="{9C712205-3BB4-4219-8D5B-552FB139F9CC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87" name="Oval 38">
                <a:extLst>
                  <a:ext uri="{FF2B5EF4-FFF2-40B4-BE49-F238E27FC236}">
                    <a16:creationId xmlns:a16="http://schemas.microsoft.com/office/drawing/2014/main" id="{68AFD9DE-B6E6-43BA-9110-F447308EFD6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8" name="Arc 39">
                <a:extLst>
                  <a:ext uri="{FF2B5EF4-FFF2-40B4-BE49-F238E27FC236}">
                    <a16:creationId xmlns:a16="http://schemas.microsoft.com/office/drawing/2014/main" id="{BE568B5D-4421-4588-AFD1-07E86346B5EA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0" name="MoonLegend2">
              <a:extLst>
                <a:ext uri="{FF2B5EF4-FFF2-40B4-BE49-F238E27FC236}">
                  <a16:creationId xmlns:a16="http://schemas.microsoft.com/office/drawing/2014/main" id="{8D8EEE5F-D429-4A8C-902D-4419F9794123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85" name="Oval 41">
                <a:extLst>
                  <a:ext uri="{FF2B5EF4-FFF2-40B4-BE49-F238E27FC236}">
                    <a16:creationId xmlns:a16="http://schemas.microsoft.com/office/drawing/2014/main" id="{5CDAF801-F27F-4BFA-9788-7F8B05F2C3B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6" name="Arc 42">
                <a:extLst>
                  <a:ext uri="{FF2B5EF4-FFF2-40B4-BE49-F238E27FC236}">
                    <a16:creationId xmlns:a16="http://schemas.microsoft.com/office/drawing/2014/main" id="{E166690E-D082-4029-B501-B58C98FAAB98}"/>
                  </a:ext>
                </a:extLst>
              </p:cNvPr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1" name="MoonLegend4">
              <a:extLst>
                <a:ext uri="{FF2B5EF4-FFF2-40B4-BE49-F238E27FC236}">
                  <a16:creationId xmlns:a16="http://schemas.microsoft.com/office/drawing/2014/main" id="{5AC3B222-7028-40AD-B46E-766FB64436F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83" name="Oval 47">
                <a:extLst>
                  <a:ext uri="{FF2B5EF4-FFF2-40B4-BE49-F238E27FC236}">
                    <a16:creationId xmlns:a16="http://schemas.microsoft.com/office/drawing/2014/main" id="{026E6556-765F-4ACD-9448-3DA1517F499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4" name="Arc 48">
                <a:extLst>
                  <a:ext uri="{FF2B5EF4-FFF2-40B4-BE49-F238E27FC236}">
                    <a16:creationId xmlns:a16="http://schemas.microsoft.com/office/drawing/2014/main" id="{B99D76C3-DB8D-402A-9300-6248E6CF43FD}"/>
                  </a:ext>
                </a:extLst>
              </p:cNvPr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2" name="MoonLegend5">
              <a:extLst>
                <a:ext uri="{FF2B5EF4-FFF2-40B4-BE49-F238E27FC236}">
                  <a16:creationId xmlns:a16="http://schemas.microsoft.com/office/drawing/2014/main" id="{618C7275-9E11-4223-94F7-32AF92E21487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81" name="Oval 50">
                <a:extLst>
                  <a:ext uri="{FF2B5EF4-FFF2-40B4-BE49-F238E27FC236}">
                    <a16:creationId xmlns:a16="http://schemas.microsoft.com/office/drawing/2014/main" id="{F5F29FE6-EA67-4517-9B00-44C7645B7A0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2" name="Oval 51">
                <a:extLst>
                  <a:ext uri="{FF2B5EF4-FFF2-40B4-BE49-F238E27FC236}">
                    <a16:creationId xmlns:a16="http://schemas.microsoft.com/office/drawing/2014/main" id="{96C78F93-0498-4416-BE6C-9D3DD39F24E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73" name="Legend1">
              <a:extLst>
                <a:ext uri="{FF2B5EF4-FFF2-40B4-BE49-F238E27FC236}">
                  <a16:creationId xmlns:a16="http://schemas.microsoft.com/office/drawing/2014/main" id="{90DD1C50-3504-4CF0-864B-E46D5EB3B4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4" name="Legend2">
              <a:extLst>
                <a:ext uri="{FF2B5EF4-FFF2-40B4-BE49-F238E27FC236}">
                  <a16:creationId xmlns:a16="http://schemas.microsoft.com/office/drawing/2014/main" id="{311901F1-9AF6-403F-AA0D-62CC279A83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48ECC2ED-C2E5-43C1-871E-BF41BBFD89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6" name="Legend4">
              <a:extLst>
                <a:ext uri="{FF2B5EF4-FFF2-40B4-BE49-F238E27FC236}">
                  <a16:creationId xmlns:a16="http://schemas.microsoft.com/office/drawing/2014/main" id="{AD1BF867-98AD-4CD5-9042-0DB7642E06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5">
              <a:extLst>
                <a:ext uri="{FF2B5EF4-FFF2-40B4-BE49-F238E27FC236}">
                  <a16:creationId xmlns:a16="http://schemas.microsoft.com/office/drawing/2014/main" id="{061CE639-EB36-4A7F-84CA-6A9D2118D3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78" name="MoonLegend3">
              <a:extLst>
                <a:ext uri="{FF2B5EF4-FFF2-40B4-BE49-F238E27FC236}">
                  <a16:creationId xmlns:a16="http://schemas.microsoft.com/office/drawing/2014/main" id="{CB48B4BA-44F9-4DFC-A103-CBE1EAED0F7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79" name="Oval 47">
                <a:extLst>
                  <a:ext uri="{FF2B5EF4-FFF2-40B4-BE49-F238E27FC236}">
                    <a16:creationId xmlns:a16="http://schemas.microsoft.com/office/drawing/2014/main" id="{7C09E743-E5B2-479B-91A4-AC98033F030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0" name="Arc 48">
                <a:extLst>
                  <a:ext uri="{FF2B5EF4-FFF2-40B4-BE49-F238E27FC236}">
                    <a16:creationId xmlns:a16="http://schemas.microsoft.com/office/drawing/2014/main" id="{B43E0672-3D87-410C-98A1-68F0E703D845}"/>
                  </a:ext>
                </a:extLst>
              </p:cNvPr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89" name="EmptyMoon" hidden="1">
            <a:extLst>
              <a:ext uri="{FF2B5EF4-FFF2-40B4-BE49-F238E27FC236}">
                <a16:creationId xmlns:a16="http://schemas.microsoft.com/office/drawing/2014/main" id="{D74E7B9C-70EA-4EBE-8536-2D8A26E5CA57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119063" y="1257300"/>
            <a:ext cx="254000" cy="254000"/>
            <a:chOff x="762000" y="1270000"/>
            <a:chExt cx="254000" cy="254000"/>
          </a:xfrm>
          <a:solidFill>
            <a:schemeClr val="bg1"/>
          </a:solidFill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D9167B0C-6E9D-4786-801B-1F2819F08CE3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1" name="Arc 90" hidden="1">
              <a:extLst>
                <a:ext uri="{FF2B5EF4-FFF2-40B4-BE49-F238E27FC236}">
                  <a16:creationId xmlns:a16="http://schemas.microsoft.com/office/drawing/2014/main" id="{BD0CB912-13BB-4242-B3E7-8EE5CDD1426F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2" name="QuaterMoon" hidden="1">
            <a:extLst>
              <a:ext uri="{FF2B5EF4-FFF2-40B4-BE49-F238E27FC236}">
                <a16:creationId xmlns:a16="http://schemas.microsoft.com/office/drawing/2014/main" id="{AF1EB066-A698-43F4-91E3-F8EFFC84AC9D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119063" y="1765300"/>
            <a:ext cx="254000" cy="254000"/>
            <a:chOff x="762000" y="1270000"/>
            <a:chExt cx="254000" cy="254000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69185F54-7DFF-43AE-8F3E-DC81FBA0883E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4" name="Arc 93">
              <a:extLst>
                <a:ext uri="{FF2B5EF4-FFF2-40B4-BE49-F238E27FC236}">
                  <a16:creationId xmlns:a16="http://schemas.microsoft.com/office/drawing/2014/main" id="{22EF3FF6-70AD-48B0-8A57-53CD42CB3C3E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5" name="HalfMoon" hidden="1">
            <a:extLst>
              <a:ext uri="{FF2B5EF4-FFF2-40B4-BE49-F238E27FC236}">
                <a16:creationId xmlns:a16="http://schemas.microsoft.com/office/drawing/2014/main" id="{DE15CA28-5F7C-453F-8F17-0E7505D431B4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119063" y="2273300"/>
            <a:ext cx="254000" cy="254000"/>
            <a:chOff x="762000" y="1270000"/>
            <a:chExt cx="254000" cy="254000"/>
          </a:xfrm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6358F7FE-C1BB-4883-9A40-8346B3B9F072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7" name="Arc 96">
              <a:extLst>
                <a:ext uri="{FF2B5EF4-FFF2-40B4-BE49-F238E27FC236}">
                  <a16:creationId xmlns:a16="http://schemas.microsoft.com/office/drawing/2014/main" id="{22F425C7-B3D1-4852-84EE-736133410BE2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8" name="3QuaterMoon" hidden="1">
            <a:extLst>
              <a:ext uri="{FF2B5EF4-FFF2-40B4-BE49-F238E27FC236}">
                <a16:creationId xmlns:a16="http://schemas.microsoft.com/office/drawing/2014/main" id="{080AF946-3EBD-430C-8091-E2280679595A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119063" y="2781300"/>
            <a:ext cx="254000" cy="254000"/>
            <a:chOff x="762000" y="1270000"/>
            <a:chExt cx="254000" cy="254000"/>
          </a:xfrm>
        </p:grpSpPr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DB29B8B4-4D16-4C94-8DDC-1C831CBE0B7E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0" name="Arc 99">
              <a:extLst>
                <a:ext uri="{FF2B5EF4-FFF2-40B4-BE49-F238E27FC236}">
                  <a16:creationId xmlns:a16="http://schemas.microsoft.com/office/drawing/2014/main" id="{A95CFF00-0B7D-435A-87DB-9A3CD320947D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1" name="FullMoon" hidden="1">
            <a:extLst>
              <a:ext uri="{FF2B5EF4-FFF2-40B4-BE49-F238E27FC236}">
                <a16:creationId xmlns:a16="http://schemas.microsoft.com/office/drawing/2014/main" id="{F7C9862B-B583-433D-871D-D2FC4F098051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119063" y="3289300"/>
            <a:ext cx="254000" cy="254000"/>
            <a:chOff x="762000" y="1270000"/>
            <a:chExt cx="254000" cy="254000"/>
          </a:xfrm>
        </p:grpSpPr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0381FFD3-90B7-41E5-BD51-7AA8111CE720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3" name="Arc 142">
              <a:extLst>
                <a:ext uri="{FF2B5EF4-FFF2-40B4-BE49-F238E27FC236}">
                  <a16:creationId xmlns:a16="http://schemas.microsoft.com/office/drawing/2014/main" id="{C277E461-DA11-40BF-9D70-D28D03B17D4F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23223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</p:sldLayoutIdLst>
  <p:hf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000" b="1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202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51">
          <p15:clr>
            <a:srgbClr val="F26B43"/>
          </p15:clr>
        </p15:guide>
        <p15:guide id="2" pos="151">
          <p15:clr>
            <a:srgbClr val="F26B43"/>
          </p15:clr>
        </p15:guide>
        <p15:guide id="3" pos="7516">
          <p15:clr>
            <a:srgbClr val="F26B43"/>
          </p15:clr>
        </p15:guide>
        <p15:guide id="4" orient="horz" pos="9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84508533"/>
              </p:ext>
            </p:ext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248815" y="769323"/>
            <a:ext cx="1042540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71623" y="2548652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58" name="4. Footnote" hidden="1">
            <a:extLst>
              <a:ext uri="{FF2B5EF4-FFF2-40B4-BE49-F238E27FC236}">
                <a16:creationId xmlns:a16="http://schemas.microsoft.com/office/drawing/2014/main" id="{95D715E0-DF29-4590-BD3A-18793C7800A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48815" y="6190595"/>
            <a:ext cx="11638656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defPPr>
              <a:defRPr lang="en-US"/>
            </a:defPPr>
            <a:lvl1pPr marL="84138" indent="-84138" defTabSz="895350">
              <a:defRPr sz="800" baseline="0">
                <a:solidFill>
                  <a:schemeClr val="accent6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/>
              <a:t>1 Footnote</a:t>
            </a:r>
          </a:p>
        </p:txBody>
      </p:sp>
      <p:sp>
        <p:nvSpPr>
          <p:cNvPr id="60" name="5. Source" hidden="1">
            <a:extLst>
              <a:ext uri="{FF2B5EF4-FFF2-40B4-BE49-F238E27FC236}">
                <a16:creationId xmlns:a16="http://schemas.microsoft.com/office/drawing/2014/main" id="{6D6DE404-AC59-49FA-8D56-FC8D0027819C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8815" y="6358982"/>
            <a:ext cx="11638656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519113" indent="-519113" defTabSz="1218026"/>
            <a:r>
              <a:rPr lang="en-US" sz="800">
                <a:solidFill>
                  <a:schemeClr val="accent6"/>
                </a:solidFill>
                <a:latin typeface="+mn-lt"/>
              </a:rPr>
              <a:t>SOURCE: 	Source </a:t>
            </a:r>
          </a:p>
        </p:txBody>
      </p:sp>
      <p:sp>
        <p:nvSpPr>
          <p:cNvPr id="62" name="1. On-page tracker" hidden="1">
            <a:extLst>
              <a:ext uri="{FF2B5EF4-FFF2-40B4-BE49-F238E27FC236}">
                <a16:creationId xmlns:a16="http://schemas.microsoft.com/office/drawing/2014/main" id="{E934690F-C9A6-4C5E-8016-C4D7527D05F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8815" y="5864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3" name="3. Unit of measure" hidden="1">
            <a:extLst>
              <a:ext uri="{FF2B5EF4-FFF2-40B4-BE49-F238E27FC236}">
                <a16:creationId xmlns:a16="http://schemas.microsoft.com/office/drawing/2014/main" id="{5E737A52-7B61-4E29-9F44-91B41516C3E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48815" y="1103395"/>
            <a:ext cx="1042540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BE45757-4655-4190-BFCF-74F5CA6E0226}"/>
              </a:ext>
            </a:extLst>
          </p:cNvPr>
          <p:cNvSpPr txBox="1"/>
          <p:nvPr/>
        </p:nvSpPr>
        <p:spPr>
          <a:xfrm>
            <a:off x="148551" y="6482415"/>
            <a:ext cx="3394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rgbClr val="828587"/>
                </a:solidFill>
              </a:rPr>
              <a:t>CONFIDENTIAL</a:t>
            </a:r>
            <a:endParaRPr lang="en-US" sz="1100">
              <a:solidFill>
                <a:srgbClr val="828587"/>
              </a:solidFill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0B555ED-1EC0-4B29-BE31-9D30BF1466A5}"/>
              </a:ext>
            </a:extLst>
          </p:cNvPr>
          <p:cNvSpPr txBox="1"/>
          <p:nvPr/>
        </p:nvSpPr>
        <p:spPr>
          <a:xfrm>
            <a:off x="9860967" y="6482415"/>
            <a:ext cx="21700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BBA41CD-4A47-E14F-9194-B2274EF489E2}" type="slidenum">
              <a:rPr lang="en-US" sz="1200" smtClean="0">
                <a:solidFill>
                  <a:srgbClr val="828587"/>
                </a:solidFill>
              </a:rPr>
              <a:pPr algn="r"/>
              <a:t>‹#›</a:t>
            </a:fld>
            <a:endParaRPr lang="en-US" sz="1400">
              <a:solidFill>
                <a:srgbClr val="828587"/>
              </a:solidFill>
            </a:endParaRP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27AAA8D6-2824-472C-BA2A-49D70A32D209}"/>
              </a:ext>
            </a:extLst>
          </p:cNvPr>
          <p:cNvPicPr>
            <a:picLocks noChangeAspect="1"/>
          </p:cNvPicPr>
          <p:nvPr/>
        </p:nvPicPr>
        <p:blipFill>
          <a:blip r:embed="rId4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5" y="89453"/>
            <a:ext cx="1371600" cy="783772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CD311278-5B86-4AF9-8479-CF60F3303951}"/>
              </a:ext>
            </a:extLst>
          </p:cNvPr>
          <p:cNvPicPr>
            <a:picLocks noChangeAspect="1"/>
          </p:cNvPicPr>
          <p:nvPr/>
        </p:nvPicPr>
        <p:blipFill>
          <a:blip r:embed="rId4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8565" y="44825"/>
            <a:ext cx="2752230" cy="2886634"/>
          </a:xfrm>
          <a:prstGeom prst="rect">
            <a:avLst/>
          </a:prstGeom>
        </p:spPr>
      </p:pic>
      <p:grpSp>
        <p:nvGrpSpPr>
          <p:cNvPr id="59" name="LegendBoxes" hidden="1"/>
          <p:cNvGrpSpPr>
            <a:grpSpLocks/>
          </p:cNvGrpSpPr>
          <p:nvPr/>
        </p:nvGrpSpPr>
        <p:grpSpPr bwMode="auto">
          <a:xfrm>
            <a:off x="9910632" y="830091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/>
        </p:nvGrpSpPr>
        <p:grpSpPr bwMode="auto">
          <a:xfrm>
            <a:off x="9602657" y="830091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/>
        </p:nvGrpSpPr>
        <p:grpSpPr bwMode="auto">
          <a:xfrm>
            <a:off x="9949214" y="830091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8" name="LegendMoons" hidden="1">
            <a:extLst>
              <a:ext uri="{FF2B5EF4-FFF2-40B4-BE49-F238E27FC236}">
                <a16:creationId xmlns:a16="http://schemas.microsoft.com/office/drawing/2014/main" id="{6043DDE7-5611-452C-8022-8C6F8076F2B1}"/>
              </a:ext>
            </a:extLst>
          </p:cNvPr>
          <p:cNvGrpSpPr/>
          <p:nvPr/>
        </p:nvGrpSpPr>
        <p:grpSpPr bwMode="auto">
          <a:xfrm>
            <a:off x="9843790" y="830091"/>
            <a:ext cx="830430" cy="1306516"/>
            <a:chOff x="6655594" y="273840"/>
            <a:chExt cx="830430" cy="1306516"/>
          </a:xfrm>
        </p:grpSpPr>
        <p:grpSp>
          <p:nvGrpSpPr>
            <p:cNvPr id="69" name="MoonLegend1">
              <a:extLst>
                <a:ext uri="{FF2B5EF4-FFF2-40B4-BE49-F238E27FC236}">
                  <a16:creationId xmlns:a16="http://schemas.microsoft.com/office/drawing/2014/main" id="{9C712205-3BB4-4219-8D5B-552FB139F9CC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87" name="Oval 38">
                <a:extLst>
                  <a:ext uri="{FF2B5EF4-FFF2-40B4-BE49-F238E27FC236}">
                    <a16:creationId xmlns:a16="http://schemas.microsoft.com/office/drawing/2014/main" id="{68AFD9DE-B6E6-43BA-9110-F447308EFD6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8" name="Arc 39">
                <a:extLst>
                  <a:ext uri="{FF2B5EF4-FFF2-40B4-BE49-F238E27FC236}">
                    <a16:creationId xmlns:a16="http://schemas.microsoft.com/office/drawing/2014/main" id="{BE568B5D-4421-4588-AFD1-07E86346B5EA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0" name="MoonLegend2">
              <a:extLst>
                <a:ext uri="{FF2B5EF4-FFF2-40B4-BE49-F238E27FC236}">
                  <a16:creationId xmlns:a16="http://schemas.microsoft.com/office/drawing/2014/main" id="{8D8EEE5F-D429-4A8C-902D-4419F9794123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85" name="Oval 41">
                <a:extLst>
                  <a:ext uri="{FF2B5EF4-FFF2-40B4-BE49-F238E27FC236}">
                    <a16:creationId xmlns:a16="http://schemas.microsoft.com/office/drawing/2014/main" id="{5CDAF801-F27F-4BFA-9788-7F8B05F2C3B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6" name="Arc 42">
                <a:extLst>
                  <a:ext uri="{FF2B5EF4-FFF2-40B4-BE49-F238E27FC236}">
                    <a16:creationId xmlns:a16="http://schemas.microsoft.com/office/drawing/2014/main" id="{E166690E-D082-4029-B501-B58C98FAAB98}"/>
                  </a:ext>
                </a:extLst>
              </p:cNvPr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1" name="MoonLegend4">
              <a:extLst>
                <a:ext uri="{FF2B5EF4-FFF2-40B4-BE49-F238E27FC236}">
                  <a16:creationId xmlns:a16="http://schemas.microsoft.com/office/drawing/2014/main" id="{5AC3B222-7028-40AD-B46E-766FB64436F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83" name="Oval 47">
                <a:extLst>
                  <a:ext uri="{FF2B5EF4-FFF2-40B4-BE49-F238E27FC236}">
                    <a16:creationId xmlns:a16="http://schemas.microsoft.com/office/drawing/2014/main" id="{026E6556-765F-4ACD-9448-3DA1517F499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4" name="Arc 48">
                <a:extLst>
                  <a:ext uri="{FF2B5EF4-FFF2-40B4-BE49-F238E27FC236}">
                    <a16:creationId xmlns:a16="http://schemas.microsoft.com/office/drawing/2014/main" id="{B99D76C3-DB8D-402A-9300-6248E6CF43FD}"/>
                  </a:ext>
                </a:extLst>
              </p:cNvPr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2" name="MoonLegend5">
              <a:extLst>
                <a:ext uri="{FF2B5EF4-FFF2-40B4-BE49-F238E27FC236}">
                  <a16:creationId xmlns:a16="http://schemas.microsoft.com/office/drawing/2014/main" id="{618C7275-9E11-4223-94F7-32AF92E21487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81" name="Oval 50">
                <a:extLst>
                  <a:ext uri="{FF2B5EF4-FFF2-40B4-BE49-F238E27FC236}">
                    <a16:creationId xmlns:a16="http://schemas.microsoft.com/office/drawing/2014/main" id="{F5F29FE6-EA67-4517-9B00-44C7645B7A0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2" name="Oval 51">
                <a:extLst>
                  <a:ext uri="{FF2B5EF4-FFF2-40B4-BE49-F238E27FC236}">
                    <a16:creationId xmlns:a16="http://schemas.microsoft.com/office/drawing/2014/main" id="{96C78F93-0498-4416-BE6C-9D3DD39F24E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73" name="Legend1">
              <a:extLst>
                <a:ext uri="{FF2B5EF4-FFF2-40B4-BE49-F238E27FC236}">
                  <a16:creationId xmlns:a16="http://schemas.microsoft.com/office/drawing/2014/main" id="{90DD1C50-3504-4CF0-864B-E46D5EB3B4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4" name="Legend2">
              <a:extLst>
                <a:ext uri="{FF2B5EF4-FFF2-40B4-BE49-F238E27FC236}">
                  <a16:creationId xmlns:a16="http://schemas.microsoft.com/office/drawing/2014/main" id="{311901F1-9AF6-403F-AA0D-62CC279A83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48ECC2ED-C2E5-43C1-871E-BF41BBFD89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6" name="Legend4">
              <a:extLst>
                <a:ext uri="{FF2B5EF4-FFF2-40B4-BE49-F238E27FC236}">
                  <a16:creationId xmlns:a16="http://schemas.microsoft.com/office/drawing/2014/main" id="{AD1BF867-98AD-4CD5-9042-0DB7642E06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5">
              <a:extLst>
                <a:ext uri="{FF2B5EF4-FFF2-40B4-BE49-F238E27FC236}">
                  <a16:creationId xmlns:a16="http://schemas.microsoft.com/office/drawing/2014/main" id="{061CE639-EB36-4A7F-84CA-6A9D2118D3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78" name="MoonLegend3">
              <a:extLst>
                <a:ext uri="{FF2B5EF4-FFF2-40B4-BE49-F238E27FC236}">
                  <a16:creationId xmlns:a16="http://schemas.microsoft.com/office/drawing/2014/main" id="{CB48B4BA-44F9-4DFC-A103-CBE1EAED0F7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79" name="Oval 47">
                <a:extLst>
                  <a:ext uri="{FF2B5EF4-FFF2-40B4-BE49-F238E27FC236}">
                    <a16:creationId xmlns:a16="http://schemas.microsoft.com/office/drawing/2014/main" id="{7C09E743-E5B2-479B-91A4-AC98033F030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0" name="Arc 48">
                <a:extLst>
                  <a:ext uri="{FF2B5EF4-FFF2-40B4-BE49-F238E27FC236}">
                    <a16:creationId xmlns:a16="http://schemas.microsoft.com/office/drawing/2014/main" id="{B43E0672-3D87-410C-98A1-68F0E703D845}"/>
                  </a:ext>
                </a:extLst>
              </p:cNvPr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89" name="EmptyMoon" hidden="1">
            <a:extLst>
              <a:ext uri="{FF2B5EF4-FFF2-40B4-BE49-F238E27FC236}">
                <a16:creationId xmlns:a16="http://schemas.microsoft.com/office/drawing/2014/main" id="{D74E7B9C-70EA-4EBE-8536-2D8A26E5CA57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119063" y="1257300"/>
            <a:ext cx="254000" cy="254000"/>
            <a:chOff x="762000" y="1270000"/>
            <a:chExt cx="254000" cy="254000"/>
          </a:xfrm>
          <a:solidFill>
            <a:schemeClr val="bg1"/>
          </a:solidFill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D9167B0C-6E9D-4786-801B-1F2819F08CE3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1" name="Arc 90" hidden="1">
              <a:extLst>
                <a:ext uri="{FF2B5EF4-FFF2-40B4-BE49-F238E27FC236}">
                  <a16:creationId xmlns:a16="http://schemas.microsoft.com/office/drawing/2014/main" id="{BD0CB912-13BB-4242-B3E7-8EE5CDD1426F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2" name="QuaterMoon" hidden="1">
            <a:extLst>
              <a:ext uri="{FF2B5EF4-FFF2-40B4-BE49-F238E27FC236}">
                <a16:creationId xmlns:a16="http://schemas.microsoft.com/office/drawing/2014/main" id="{AF1EB066-A698-43F4-91E3-F8EFFC84AC9D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119063" y="1765300"/>
            <a:ext cx="254000" cy="254000"/>
            <a:chOff x="762000" y="1270000"/>
            <a:chExt cx="254000" cy="254000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69185F54-7DFF-43AE-8F3E-DC81FBA0883E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4" name="Arc 93">
              <a:extLst>
                <a:ext uri="{FF2B5EF4-FFF2-40B4-BE49-F238E27FC236}">
                  <a16:creationId xmlns:a16="http://schemas.microsoft.com/office/drawing/2014/main" id="{22EF3FF6-70AD-48B0-8A57-53CD42CB3C3E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5" name="HalfMoon" hidden="1">
            <a:extLst>
              <a:ext uri="{FF2B5EF4-FFF2-40B4-BE49-F238E27FC236}">
                <a16:creationId xmlns:a16="http://schemas.microsoft.com/office/drawing/2014/main" id="{DE15CA28-5F7C-453F-8F17-0E7505D431B4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119063" y="2273300"/>
            <a:ext cx="254000" cy="254000"/>
            <a:chOff x="762000" y="1270000"/>
            <a:chExt cx="254000" cy="254000"/>
          </a:xfrm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6358F7FE-C1BB-4883-9A40-8346B3B9F072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7" name="Arc 96">
              <a:extLst>
                <a:ext uri="{FF2B5EF4-FFF2-40B4-BE49-F238E27FC236}">
                  <a16:creationId xmlns:a16="http://schemas.microsoft.com/office/drawing/2014/main" id="{22F425C7-B3D1-4852-84EE-736133410BE2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8" name="3QuaterMoon" hidden="1">
            <a:extLst>
              <a:ext uri="{FF2B5EF4-FFF2-40B4-BE49-F238E27FC236}">
                <a16:creationId xmlns:a16="http://schemas.microsoft.com/office/drawing/2014/main" id="{080AF946-3EBD-430C-8091-E2280679595A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119063" y="2781300"/>
            <a:ext cx="254000" cy="254000"/>
            <a:chOff x="762000" y="1270000"/>
            <a:chExt cx="254000" cy="254000"/>
          </a:xfrm>
        </p:grpSpPr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DB29B8B4-4D16-4C94-8DDC-1C831CBE0B7E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0" name="Arc 99">
              <a:extLst>
                <a:ext uri="{FF2B5EF4-FFF2-40B4-BE49-F238E27FC236}">
                  <a16:creationId xmlns:a16="http://schemas.microsoft.com/office/drawing/2014/main" id="{A95CFF00-0B7D-435A-87DB-9A3CD320947D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1" name="FullMoon" hidden="1">
            <a:extLst>
              <a:ext uri="{FF2B5EF4-FFF2-40B4-BE49-F238E27FC236}">
                <a16:creationId xmlns:a16="http://schemas.microsoft.com/office/drawing/2014/main" id="{F7C9862B-B583-433D-871D-D2FC4F098051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119063" y="3289300"/>
            <a:ext cx="254000" cy="254000"/>
            <a:chOff x="762000" y="1270000"/>
            <a:chExt cx="254000" cy="254000"/>
          </a:xfrm>
        </p:grpSpPr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0381FFD3-90B7-41E5-BD51-7AA8111CE720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3" name="Arc 142">
              <a:extLst>
                <a:ext uri="{FF2B5EF4-FFF2-40B4-BE49-F238E27FC236}">
                  <a16:creationId xmlns:a16="http://schemas.microsoft.com/office/drawing/2014/main" id="{C277E461-DA11-40BF-9D70-D28D03B17D4F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20335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</p:sldLayoutIdLst>
  <p:hf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000" b="1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202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51">
          <p15:clr>
            <a:srgbClr val="F26B43"/>
          </p15:clr>
        </p15:guide>
        <p15:guide id="2" pos="151">
          <p15:clr>
            <a:srgbClr val="F26B43"/>
          </p15:clr>
        </p15:guide>
        <p15:guide id="3" pos="7516">
          <p15:clr>
            <a:srgbClr val="F26B43"/>
          </p15:clr>
        </p15:guide>
        <p15:guide id="4" orient="horz" pos="9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75606176"/>
              </p:ext>
            </p:ext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248815" y="769323"/>
            <a:ext cx="1042540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71623" y="2548652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58" name="4. Footnote" hidden="1">
            <a:extLst>
              <a:ext uri="{FF2B5EF4-FFF2-40B4-BE49-F238E27FC236}">
                <a16:creationId xmlns:a16="http://schemas.microsoft.com/office/drawing/2014/main" id="{95D715E0-DF29-4590-BD3A-18793C7800A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48815" y="6190595"/>
            <a:ext cx="11638656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defPPr>
              <a:defRPr lang="en-US"/>
            </a:defPPr>
            <a:lvl1pPr marL="84138" indent="-84138" defTabSz="895350">
              <a:defRPr sz="800" baseline="0">
                <a:solidFill>
                  <a:schemeClr val="accent6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/>
              <a:t>1 Footnote</a:t>
            </a:r>
          </a:p>
        </p:txBody>
      </p:sp>
      <p:sp>
        <p:nvSpPr>
          <p:cNvPr id="60" name="5. Source" hidden="1">
            <a:extLst>
              <a:ext uri="{FF2B5EF4-FFF2-40B4-BE49-F238E27FC236}">
                <a16:creationId xmlns:a16="http://schemas.microsoft.com/office/drawing/2014/main" id="{6D6DE404-AC59-49FA-8D56-FC8D0027819C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8815" y="6358982"/>
            <a:ext cx="11638656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519113" indent="-519113" defTabSz="1218026"/>
            <a:r>
              <a:rPr lang="en-US" sz="800">
                <a:solidFill>
                  <a:schemeClr val="accent6"/>
                </a:solidFill>
                <a:latin typeface="+mn-lt"/>
              </a:rPr>
              <a:t>SOURCE: 	Source </a:t>
            </a:r>
          </a:p>
        </p:txBody>
      </p:sp>
      <p:sp>
        <p:nvSpPr>
          <p:cNvPr id="62" name="1. On-page tracker" hidden="1">
            <a:extLst>
              <a:ext uri="{FF2B5EF4-FFF2-40B4-BE49-F238E27FC236}">
                <a16:creationId xmlns:a16="http://schemas.microsoft.com/office/drawing/2014/main" id="{E934690F-C9A6-4C5E-8016-C4D7527D05F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8815" y="5864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3" name="3. Unit of measure" hidden="1">
            <a:extLst>
              <a:ext uri="{FF2B5EF4-FFF2-40B4-BE49-F238E27FC236}">
                <a16:creationId xmlns:a16="http://schemas.microsoft.com/office/drawing/2014/main" id="{5E737A52-7B61-4E29-9F44-91B41516C3E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48815" y="1103395"/>
            <a:ext cx="1042540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BE45757-4655-4190-BFCF-74F5CA6E0226}"/>
              </a:ext>
            </a:extLst>
          </p:cNvPr>
          <p:cNvSpPr txBox="1"/>
          <p:nvPr/>
        </p:nvSpPr>
        <p:spPr>
          <a:xfrm>
            <a:off x="148551" y="6482415"/>
            <a:ext cx="3394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rgbClr val="828587"/>
                </a:solidFill>
              </a:rPr>
              <a:t>CONFIDENTIAL</a:t>
            </a:r>
            <a:endParaRPr lang="en-US" sz="1100">
              <a:solidFill>
                <a:srgbClr val="828587"/>
              </a:solidFill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0B555ED-1EC0-4B29-BE31-9D30BF1466A5}"/>
              </a:ext>
            </a:extLst>
          </p:cNvPr>
          <p:cNvSpPr txBox="1"/>
          <p:nvPr/>
        </p:nvSpPr>
        <p:spPr>
          <a:xfrm>
            <a:off x="9860967" y="6482415"/>
            <a:ext cx="21700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BBA41CD-4A47-E14F-9194-B2274EF489E2}" type="slidenum">
              <a:rPr lang="en-US" sz="1200" smtClean="0">
                <a:solidFill>
                  <a:srgbClr val="828587"/>
                </a:solidFill>
              </a:rPr>
              <a:pPr algn="r"/>
              <a:t>‹#›</a:t>
            </a:fld>
            <a:endParaRPr lang="en-US" sz="1400">
              <a:solidFill>
                <a:srgbClr val="828587"/>
              </a:solidFill>
            </a:endParaRP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27AAA8D6-2824-472C-BA2A-49D70A32D209}"/>
              </a:ext>
            </a:extLst>
          </p:cNvPr>
          <p:cNvPicPr>
            <a:picLocks noChangeAspect="1"/>
          </p:cNvPicPr>
          <p:nvPr/>
        </p:nvPicPr>
        <p:blipFill>
          <a:blip r:embed="rId4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5" y="89453"/>
            <a:ext cx="1371600" cy="783772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CD311278-5B86-4AF9-8479-CF60F3303951}"/>
              </a:ext>
            </a:extLst>
          </p:cNvPr>
          <p:cNvPicPr>
            <a:picLocks noChangeAspect="1"/>
          </p:cNvPicPr>
          <p:nvPr/>
        </p:nvPicPr>
        <p:blipFill>
          <a:blip r:embed="rId4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8565" y="44825"/>
            <a:ext cx="2752230" cy="2886634"/>
          </a:xfrm>
          <a:prstGeom prst="rect">
            <a:avLst/>
          </a:prstGeom>
        </p:spPr>
      </p:pic>
      <p:grpSp>
        <p:nvGrpSpPr>
          <p:cNvPr id="59" name="LegendBoxes" hidden="1"/>
          <p:cNvGrpSpPr>
            <a:grpSpLocks/>
          </p:cNvGrpSpPr>
          <p:nvPr/>
        </p:nvGrpSpPr>
        <p:grpSpPr bwMode="auto">
          <a:xfrm>
            <a:off x="9910632" y="830091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/>
        </p:nvGrpSpPr>
        <p:grpSpPr bwMode="auto">
          <a:xfrm>
            <a:off x="9602657" y="830091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/>
        </p:nvGrpSpPr>
        <p:grpSpPr bwMode="auto">
          <a:xfrm>
            <a:off x="9949214" y="830091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8" name="LegendMoons" hidden="1">
            <a:extLst>
              <a:ext uri="{FF2B5EF4-FFF2-40B4-BE49-F238E27FC236}">
                <a16:creationId xmlns:a16="http://schemas.microsoft.com/office/drawing/2014/main" id="{6043DDE7-5611-452C-8022-8C6F8076F2B1}"/>
              </a:ext>
            </a:extLst>
          </p:cNvPr>
          <p:cNvGrpSpPr/>
          <p:nvPr/>
        </p:nvGrpSpPr>
        <p:grpSpPr bwMode="auto">
          <a:xfrm>
            <a:off x="9843790" y="830091"/>
            <a:ext cx="830430" cy="1306516"/>
            <a:chOff x="6655594" y="273840"/>
            <a:chExt cx="830430" cy="1306516"/>
          </a:xfrm>
        </p:grpSpPr>
        <p:grpSp>
          <p:nvGrpSpPr>
            <p:cNvPr id="69" name="MoonLegend1">
              <a:extLst>
                <a:ext uri="{FF2B5EF4-FFF2-40B4-BE49-F238E27FC236}">
                  <a16:creationId xmlns:a16="http://schemas.microsoft.com/office/drawing/2014/main" id="{9C712205-3BB4-4219-8D5B-552FB139F9CC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87" name="Oval 38">
                <a:extLst>
                  <a:ext uri="{FF2B5EF4-FFF2-40B4-BE49-F238E27FC236}">
                    <a16:creationId xmlns:a16="http://schemas.microsoft.com/office/drawing/2014/main" id="{68AFD9DE-B6E6-43BA-9110-F447308EFD6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8" name="Arc 39">
                <a:extLst>
                  <a:ext uri="{FF2B5EF4-FFF2-40B4-BE49-F238E27FC236}">
                    <a16:creationId xmlns:a16="http://schemas.microsoft.com/office/drawing/2014/main" id="{BE568B5D-4421-4588-AFD1-07E86346B5EA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0" name="MoonLegend2">
              <a:extLst>
                <a:ext uri="{FF2B5EF4-FFF2-40B4-BE49-F238E27FC236}">
                  <a16:creationId xmlns:a16="http://schemas.microsoft.com/office/drawing/2014/main" id="{8D8EEE5F-D429-4A8C-902D-4419F9794123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85" name="Oval 41">
                <a:extLst>
                  <a:ext uri="{FF2B5EF4-FFF2-40B4-BE49-F238E27FC236}">
                    <a16:creationId xmlns:a16="http://schemas.microsoft.com/office/drawing/2014/main" id="{5CDAF801-F27F-4BFA-9788-7F8B05F2C3B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6" name="Arc 42">
                <a:extLst>
                  <a:ext uri="{FF2B5EF4-FFF2-40B4-BE49-F238E27FC236}">
                    <a16:creationId xmlns:a16="http://schemas.microsoft.com/office/drawing/2014/main" id="{E166690E-D082-4029-B501-B58C98FAAB98}"/>
                  </a:ext>
                </a:extLst>
              </p:cNvPr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1" name="MoonLegend4">
              <a:extLst>
                <a:ext uri="{FF2B5EF4-FFF2-40B4-BE49-F238E27FC236}">
                  <a16:creationId xmlns:a16="http://schemas.microsoft.com/office/drawing/2014/main" id="{5AC3B222-7028-40AD-B46E-766FB64436F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83" name="Oval 47">
                <a:extLst>
                  <a:ext uri="{FF2B5EF4-FFF2-40B4-BE49-F238E27FC236}">
                    <a16:creationId xmlns:a16="http://schemas.microsoft.com/office/drawing/2014/main" id="{026E6556-765F-4ACD-9448-3DA1517F499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4" name="Arc 48">
                <a:extLst>
                  <a:ext uri="{FF2B5EF4-FFF2-40B4-BE49-F238E27FC236}">
                    <a16:creationId xmlns:a16="http://schemas.microsoft.com/office/drawing/2014/main" id="{B99D76C3-DB8D-402A-9300-6248E6CF43FD}"/>
                  </a:ext>
                </a:extLst>
              </p:cNvPr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2" name="MoonLegend5">
              <a:extLst>
                <a:ext uri="{FF2B5EF4-FFF2-40B4-BE49-F238E27FC236}">
                  <a16:creationId xmlns:a16="http://schemas.microsoft.com/office/drawing/2014/main" id="{618C7275-9E11-4223-94F7-32AF92E21487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81" name="Oval 50">
                <a:extLst>
                  <a:ext uri="{FF2B5EF4-FFF2-40B4-BE49-F238E27FC236}">
                    <a16:creationId xmlns:a16="http://schemas.microsoft.com/office/drawing/2014/main" id="{F5F29FE6-EA67-4517-9B00-44C7645B7A0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2" name="Oval 51">
                <a:extLst>
                  <a:ext uri="{FF2B5EF4-FFF2-40B4-BE49-F238E27FC236}">
                    <a16:creationId xmlns:a16="http://schemas.microsoft.com/office/drawing/2014/main" id="{96C78F93-0498-4416-BE6C-9D3DD39F24E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73" name="Legend1">
              <a:extLst>
                <a:ext uri="{FF2B5EF4-FFF2-40B4-BE49-F238E27FC236}">
                  <a16:creationId xmlns:a16="http://schemas.microsoft.com/office/drawing/2014/main" id="{90DD1C50-3504-4CF0-864B-E46D5EB3B4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4" name="Legend2">
              <a:extLst>
                <a:ext uri="{FF2B5EF4-FFF2-40B4-BE49-F238E27FC236}">
                  <a16:creationId xmlns:a16="http://schemas.microsoft.com/office/drawing/2014/main" id="{311901F1-9AF6-403F-AA0D-62CC279A83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48ECC2ED-C2E5-43C1-871E-BF41BBFD89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6" name="Legend4">
              <a:extLst>
                <a:ext uri="{FF2B5EF4-FFF2-40B4-BE49-F238E27FC236}">
                  <a16:creationId xmlns:a16="http://schemas.microsoft.com/office/drawing/2014/main" id="{AD1BF867-98AD-4CD5-9042-0DB7642E06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5">
              <a:extLst>
                <a:ext uri="{FF2B5EF4-FFF2-40B4-BE49-F238E27FC236}">
                  <a16:creationId xmlns:a16="http://schemas.microsoft.com/office/drawing/2014/main" id="{061CE639-EB36-4A7F-84CA-6A9D2118D3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78" name="MoonLegend3">
              <a:extLst>
                <a:ext uri="{FF2B5EF4-FFF2-40B4-BE49-F238E27FC236}">
                  <a16:creationId xmlns:a16="http://schemas.microsoft.com/office/drawing/2014/main" id="{CB48B4BA-44F9-4DFC-A103-CBE1EAED0F7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79" name="Oval 47">
                <a:extLst>
                  <a:ext uri="{FF2B5EF4-FFF2-40B4-BE49-F238E27FC236}">
                    <a16:creationId xmlns:a16="http://schemas.microsoft.com/office/drawing/2014/main" id="{7C09E743-E5B2-479B-91A4-AC98033F030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0" name="Arc 48">
                <a:extLst>
                  <a:ext uri="{FF2B5EF4-FFF2-40B4-BE49-F238E27FC236}">
                    <a16:creationId xmlns:a16="http://schemas.microsoft.com/office/drawing/2014/main" id="{B43E0672-3D87-410C-98A1-68F0E703D845}"/>
                  </a:ext>
                </a:extLst>
              </p:cNvPr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89" name="EmptyMoon" hidden="1">
            <a:extLst>
              <a:ext uri="{FF2B5EF4-FFF2-40B4-BE49-F238E27FC236}">
                <a16:creationId xmlns:a16="http://schemas.microsoft.com/office/drawing/2014/main" id="{D74E7B9C-70EA-4EBE-8536-2D8A26E5CA57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119063" y="1257300"/>
            <a:ext cx="254000" cy="254000"/>
            <a:chOff x="762000" y="1270000"/>
            <a:chExt cx="254000" cy="254000"/>
          </a:xfrm>
          <a:solidFill>
            <a:schemeClr val="bg1"/>
          </a:solidFill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D9167B0C-6E9D-4786-801B-1F2819F08CE3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1" name="Arc 90" hidden="1">
              <a:extLst>
                <a:ext uri="{FF2B5EF4-FFF2-40B4-BE49-F238E27FC236}">
                  <a16:creationId xmlns:a16="http://schemas.microsoft.com/office/drawing/2014/main" id="{BD0CB912-13BB-4242-B3E7-8EE5CDD1426F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2" name="QuaterMoon" hidden="1">
            <a:extLst>
              <a:ext uri="{FF2B5EF4-FFF2-40B4-BE49-F238E27FC236}">
                <a16:creationId xmlns:a16="http://schemas.microsoft.com/office/drawing/2014/main" id="{AF1EB066-A698-43F4-91E3-F8EFFC84AC9D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119063" y="1765300"/>
            <a:ext cx="254000" cy="254000"/>
            <a:chOff x="762000" y="1270000"/>
            <a:chExt cx="254000" cy="254000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69185F54-7DFF-43AE-8F3E-DC81FBA0883E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4" name="Arc 93">
              <a:extLst>
                <a:ext uri="{FF2B5EF4-FFF2-40B4-BE49-F238E27FC236}">
                  <a16:creationId xmlns:a16="http://schemas.microsoft.com/office/drawing/2014/main" id="{22EF3FF6-70AD-48B0-8A57-53CD42CB3C3E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5" name="HalfMoon" hidden="1">
            <a:extLst>
              <a:ext uri="{FF2B5EF4-FFF2-40B4-BE49-F238E27FC236}">
                <a16:creationId xmlns:a16="http://schemas.microsoft.com/office/drawing/2014/main" id="{DE15CA28-5F7C-453F-8F17-0E7505D431B4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119063" y="2273300"/>
            <a:ext cx="254000" cy="254000"/>
            <a:chOff x="762000" y="1270000"/>
            <a:chExt cx="254000" cy="254000"/>
          </a:xfrm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6358F7FE-C1BB-4883-9A40-8346B3B9F072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7" name="Arc 96">
              <a:extLst>
                <a:ext uri="{FF2B5EF4-FFF2-40B4-BE49-F238E27FC236}">
                  <a16:creationId xmlns:a16="http://schemas.microsoft.com/office/drawing/2014/main" id="{22F425C7-B3D1-4852-84EE-736133410BE2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8" name="3QuaterMoon" hidden="1">
            <a:extLst>
              <a:ext uri="{FF2B5EF4-FFF2-40B4-BE49-F238E27FC236}">
                <a16:creationId xmlns:a16="http://schemas.microsoft.com/office/drawing/2014/main" id="{080AF946-3EBD-430C-8091-E2280679595A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119063" y="2781300"/>
            <a:ext cx="254000" cy="254000"/>
            <a:chOff x="762000" y="1270000"/>
            <a:chExt cx="254000" cy="254000"/>
          </a:xfrm>
        </p:grpSpPr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DB29B8B4-4D16-4C94-8DDC-1C831CBE0B7E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0" name="Arc 99">
              <a:extLst>
                <a:ext uri="{FF2B5EF4-FFF2-40B4-BE49-F238E27FC236}">
                  <a16:creationId xmlns:a16="http://schemas.microsoft.com/office/drawing/2014/main" id="{A95CFF00-0B7D-435A-87DB-9A3CD320947D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1" name="FullMoon" hidden="1">
            <a:extLst>
              <a:ext uri="{FF2B5EF4-FFF2-40B4-BE49-F238E27FC236}">
                <a16:creationId xmlns:a16="http://schemas.microsoft.com/office/drawing/2014/main" id="{F7C9862B-B583-433D-871D-D2FC4F098051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119063" y="3289300"/>
            <a:ext cx="254000" cy="254000"/>
            <a:chOff x="762000" y="1270000"/>
            <a:chExt cx="254000" cy="254000"/>
          </a:xfrm>
        </p:grpSpPr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0381FFD3-90B7-41E5-BD51-7AA8111CE720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3" name="Arc 142">
              <a:extLst>
                <a:ext uri="{FF2B5EF4-FFF2-40B4-BE49-F238E27FC236}">
                  <a16:creationId xmlns:a16="http://schemas.microsoft.com/office/drawing/2014/main" id="{C277E461-DA11-40BF-9D70-D28D03B17D4F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11244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</p:sldLayoutIdLst>
  <p:hf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000" b="1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202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51">
          <p15:clr>
            <a:srgbClr val="F26B43"/>
          </p15:clr>
        </p15:guide>
        <p15:guide id="2" pos="151">
          <p15:clr>
            <a:srgbClr val="F26B43"/>
          </p15:clr>
        </p15:guide>
        <p15:guide id="3" pos="7516">
          <p15:clr>
            <a:srgbClr val="F26B43"/>
          </p15:clr>
        </p15:guide>
        <p15:guide id="4" orient="horz" pos="96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9222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50.jpeg"/><Relationship Id="rId4" Type="http://schemas.openxmlformats.org/officeDocument/2006/relationships/image" Target="../media/image4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image" Target="../media/image53.png"/><Relationship Id="rId18" Type="http://schemas.openxmlformats.org/officeDocument/2006/relationships/image" Target="../media/image58.png"/><Relationship Id="rId3" Type="http://schemas.openxmlformats.org/officeDocument/2006/relationships/tags" Target="../tags/tag150.xml"/><Relationship Id="rId21" Type="http://schemas.openxmlformats.org/officeDocument/2006/relationships/image" Target="../media/image61.png"/><Relationship Id="rId7" Type="http://schemas.openxmlformats.org/officeDocument/2006/relationships/tags" Target="../tags/tag154.xml"/><Relationship Id="rId12" Type="http://schemas.openxmlformats.org/officeDocument/2006/relationships/image" Target="../media/image52.png"/><Relationship Id="rId17" Type="http://schemas.openxmlformats.org/officeDocument/2006/relationships/image" Target="../media/image57.jpg"/><Relationship Id="rId2" Type="http://schemas.openxmlformats.org/officeDocument/2006/relationships/tags" Target="../tags/tag149.xml"/><Relationship Id="rId16" Type="http://schemas.openxmlformats.org/officeDocument/2006/relationships/image" Target="../media/image56.svg"/><Relationship Id="rId20" Type="http://schemas.openxmlformats.org/officeDocument/2006/relationships/image" Target="../media/image60.jpeg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11" Type="http://schemas.openxmlformats.org/officeDocument/2006/relationships/image" Target="../media/image51.emf"/><Relationship Id="rId5" Type="http://schemas.openxmlformats.org/officeDocument/2006/relationships/tags" Target="../tags/tag152.xml"/><Relationship Id="rId15" Type="http://schemas.openxmlformats.org/officeDocument/2006/relationships/image" Target="../media/image55.png"/><Relationship Id="rId10" Type="http://schemas.openxmlformats.org/officeDocument/2006/relationships/oleObject" Target="../embeddings/oleObject9.bin"/><Relationship Id="rId19" Type="http://schemas.openxmlformats.org/officeDocument/2006/relationships/image" Target="../media/image59.png"/><Relationship Id="rId4" Type="http://schemas.openxmlformats.org/officeDocument/2006/relationships/tags" Target="../tags/tag151.xml"/><Relationship Id="rId9" Type="http://schemas.openxmlformats.org/officeDocument/2006/relationships/notesSlide" Target="../notesSlides/notesSlide2.xml"/><Relationship Id="rId14" Type="http://schemas.openxmlformats.org/officeDocument/2006/relationships/image" Target="../media/image54.png"/><Relationship Id="rId22" Type="http://schemas.openxmlformats.org/officeDocument/2006/relationships/image" Target="../media/image6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31B80A4A-2191-45F1-A0A9-89917F76CF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2635" y="1396289"/>
            <a:ext cx="5095918" cy="1325563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-US" sz="44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Le </a:t>
            </a:r>
            <a:r>
              <a:rPr lang="en-US" sz="4400" b="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programme</a:t>
            </a:r>
            <a:r>
              <a:rPr lang="en-US" sz="44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de gestion du </a:t>
            </a:r>
            <a:r>
              <a:rPr lang="en-US" sz="4400" b="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carbone</a:t>
            </a:r>
            <a:r>
              <a:rPr lang="en-US" sz="44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de </a:t>
            </a:r>
            <a:r>
              <a:rPr lang="en-US" sz="4400" b="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Nutrien</a:t>
            </a:r>
            <a:endParaRPr lang="en-US" sz="44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0" name="Freeform: Shape 28">
            <a:extLst>
              <a:ext uri="{FF2B5EF4-FFF2-40B4-BE49-F238E27FC236}">
                <a16:creationId xmlns:a16="http://schemas.microsoft.com/office/drawing/2014/main" id="{2EEE8F11-3582-44B7-9869-F2D26D7DD9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"/>
            <a:ext cx="4133221" cy="3548529"/>
          </a:xfrm>
          <a:custGeom>
            <a:avLst/>
            <a:gdLst>
              <a:gd name="connsiteX0" fmla="*/ 0 w 4133221"/>
              <a:gd name="connsiteY0" fmla="*/ 0 h 3548529"/>
              <a:gd name="connsiteX1" fmla="*/ 3798429 w 4133221"/>
              <a:gd name="connsiteY1" fmla="*/ 0 h 3548529"/>
              <a:gd name="connsiteX2" fmla="*/ 3850140 w 4133221"/>
              <a:gd name="connsiteY2" fmla="*/ 85119 h 3548529"/>
              <a:gd name="connsiteX3" fmla="*/ 4133221 w 4133221"/>
              <a:gd name="connsiteY3" fmla="*/ 1203093 h 3548529"/>
              <a:gd name="connsiteX4" fmla="*/ 1787785 w 4133221"/>
              <a:gd name="connsiteY4" fmla="*/ 3548529 h 3548529"/>
              <a:gd name="connsiteX5" fmla="*/ 129311 w 4133221"/>
              <a:gd name="connsiteY5" fmla="*/ 2861567 h 3548529"/>
              <a:gd name="connsiteX6" fmla="*/ 0 w 4133221"/>
              <a:gd name="connsiteY6" fmla="*/ 2719289 h 3548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3221" h="3548529">
                <a:moveTo>
                  <a:pt x="0" y="0"/>
                </a:moveTo>
                <a:lnTo>
                  <a:pt x="3798429" y="0"/>
                </a:lnTo>
                <a:lnTo>
                  <a:pt x="3850140" y="85119"/>
                </a:lnTo>
                <a:cubicBezTo>
                  <a:pt x="4030674" y="417451"/>
                  <a:pt x="4133221" y="798296"/>
                  <a:pt x="4133221" y="1203093"/>
                </a:cubicBezTo>
                <a:cubicBezTo>
                  <a:pt x="4133221" y="2498442"/>
                  <a:pt x="3083134" y="3548529"/>
                  <a:pt x="1787785" y="3548529"/>
                </a:cubicBezTo>
                <a:cubicBezTo>
                  <a:pt x="1140111" y="3548529"/>
                  <a:pt x="553752" y="3286007"/>
                  <a:pt x="129311" y="2861567"/>
                </a:cubicBezTo>
                <a:lnTo>
                  <a:pt x="0" y="2719289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: Shape 30">
            <a:extLst>
              <a:ext uri="{FF2B5EF4-FFF2-40B4-BE49-F238E27FC236}">
                <a16:creationId xmlns:a16="http://schemas.microsoft.com/office/drawing/2014/main" id="{2141F1CC-6A53-4BCF-9127-AABB52E249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01" y="3842187"/>
            <a:ext cx="3321156" cy="3015812"/>
          </a:xfrm>
          <a:custGeom>
            <a:avLst/>
            <a:gdLst>
              <a:gd name="connsiteX0" fmla="*/ 1359768 w 3321156"/>
              <a:gd name="connsiteY0" fmla="*/ 0 h 3015812"/>
              <a:gd name="connsiteX1" fmla="*/ 3321156 w 3321156"/>
              <a:gd name="connsiteY1" fmla="*/ 1961388 h 3015812"/>
              <a:gd name="connsiteX2" fmla="*/ 3084427 w 3321156"/>
              <a:gd name="connsiteY2" fmla="*/ 2896302 h 3015812"/>
              <a:gd name="connsiteX3" fmla="*/ 3011823 w 3321156"/>
              <a:gd name="connsiteY3" fmla="*/ 3015812 h 3015812"/>
              <a:gd name="connsiteX4" fmla="*/ 0 w 3321156"/>
              <a:gd name="connsiteY4" fmla="*/ 3015812 h 3015812"/>
              <a:gd name="connsiteX5" fmla="*/ 0 w 3321156"/>
              <a:gd name="connsiteY5" fmla="*/ 549808 h 3015812"/>
              <a:gd name="connsiteX6" fmla="*/ 112143 w 3321156"/>
              <a:gd name="connsiteY6" fmla="*/ 447886 h 3015812"/>
              <a:gd name="connsiteX7" fmla="*/ 1359768 w 3321156"/>
              <a:gd name="connsiteY7" fmla="*/ 0 h 3015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21156" h="3015812">
                <a:moveTo>
                  <a:pt x="1359768" y="0"/>
                </a:moveTo>
                <a:cubicBezTo>
                  <a:pt x="2443013" y="0"/>
                  <a:pt x="3321156" y="878143"/>
                  <a:pt x="3321156" y="1961388"/>
                </a:cubicBezTo>
                <a:cubicBezTo>
                  <a:pt x="3321156" y="2299902"/>
                  <a:pt x="3235400" y="2618387"/>
                  <a:pt x="3084427" y="2896302"/>
                </a:cubicBezTo>
                <a:lnTo>
                  <a:pt x="3011823" y="3015812"/>
                </a:lnTo>
                <a:lnTo>
                  <a:pt x="0" y="3015812"/>
                </a:lnTo>
                <a:lnTo>
                  <a:pt x="0" y="549808"/>
                </a:lnTo>
                <a:lnTo>
                  <a:pt x="112143" y="447886"/>
                </a:lnTo>
                <a:cubicBezTo>
                  <a:pt x="451187" y="168082"/>
                  <a:pt x="885848" y="0"/>
                  <a:pt x="1359768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val 32">
            <a:extLst>
              <a:ext uri="{FF2B5EF4-FFF2-40B4-BE49-F238E27FC236}">
                <a16:creationId xmlns:a16="http://schemas.microsoft.com/office/drawing/2014/main" id="{561B2B49-7142-4CA8-A929-4671548E6A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394530" y="2496668"/>
            <a:ext cx="3118104" cy="311810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537193-B99C-4770-B306-BFE261AA790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8500" b="-1"/>
          <a:stretch/>
        </p:blipFill>
        <p:spPr>
          <a:xfrm>
            <a:off x="3559122" y="2661260"/>
            <a:ext cx="2788920" cy="2788920"/>
          </a:xfrm>
          <a:custGeom>
            <a:avLst/>
            <a:gdLst/>
            <a:ahLst/>
            <a:cxnLst/>
            <a:rect l="l" t="t" r="r" b="b"/>
            <a:pathLst>
              <a:path w="2880360" h="2880360">
                <a:moveTo>
                  <a:pt x="1440180" y="0"/>
                </a:moveTo>
                <a:cubicBezTo>
                  <a:pt x="2235569" y="0"/>
                  <a:pt x="2880360" y="644791"/>
                  <a:pt x="2880360" y="1440180"/>
                </a:cubicBezTo>
                <a:cubicBezTo>
                  <a:pt x="2880360" y="2235569"/>
                  <a:pt x="2235569" y="2880360"/>
                  <a:pt x="1440180" y="2880360"/>
                </a:cubicBezTo>
                <a:cubicBezTo>
                  <a:pt x="644791" y="2880360"/>
                  <a:pt x="0" y="2235569"/>
                  <a:pt x="0" y="1440180"/>
                </a:cubicBezTo>
                <a:cubicBezTo>
                  <a:pt x="0" y="644791"/>
                  <a:pt x="644791" y="0"/>
                  <a:pt x="1440180" y="0"/>
                </a:cubicBezTo>
                <a:close/>
              </a:path>
            </a:pathLst>
          </a:custGeom>
          <a:solidFill>
            <a:schemeClr val="bg1"/>
          </a:solidFill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6A5EAFE-ADA9-4268-9269-822780CDFBD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785" r="1" b="1"/>
          <a:stretch/>
        </p:blipFill>
        <p:spPr>
          <a:xfrm>
            <a:off x="20" y="10"/>
            <a:ext cx="3967953" cy="3383270"/>
          </a:xfrm>
          <a:custGeom>
            <a:avLst/>
            <a:gdLst/>
            <a:ahLst/>
            <a:cxnLst/>
            <a:rect l="l" t="t" r="r" b="b"/>
            <a:pathLst>
              <a:path w="3967973" h="3383280">
                <a:moveTo>
                  <a:pt x="0" y="0"/>
                </a:moveTo>
                <a:lnTo>
                  <a:pt x="3605273" y="0"/>
                </a:lnTo>
                <a:lnTo>
                  <a:pt x="3704836" y="163887"/>
                </a:lnTo>
                <a:cubicBezTo>
                  <a:pt x="3872651" y="472804"/>
                  <a:pt x="3967973" y="826817"/>
                  <a:pt x="3967973" y="1203093"/>
                </a:cubicBezTo>
                <a:cubicBezTo>
                  <a:pt x="3967973" y="2407177"/>
                  <a:pt x="2991870" y="3383280"/>
                  <a:pt x="1787786" y="3383280"/>
                </a:cubicBezTo>
                <a:cubicBezTo>
                  <a:pt x="1110489" y="3383280"/>
                  <a:pt x="505326" y="3074435"/>
                  <a:pt x="105448" y="2589894"/>
                </a:cubicBezTo>
                <a:lnTo>
                  <a:pt x="0" y="2448881"/>
                </a:lnTo>
                <a:close/>
              </a:path>
            </a:pathLst>
          </a:custGeom>
        </p:spPr>
      </p:pic>
      <p:pic>
        <p:nvPicPr>
          <p:cNvPr id="2" name="Picture 1" descr="Summer meadow in the backlight">
            <a:extLst>
              <a:ext uri="{FF2B5EF4-FFF2-40B4-BE49-F238E27FC236}">
                <a16:creationId xmlns:a16="http://schemas.microsoft.com/office/drawing/2014/main" id="{E0D7EDA2-C95C-4C36-B9C6-932861AFD81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3531" r="2594"/>
          <a:stretch/>
        </p:blipFill>
        <p:spPr>
          <a:xfrm>
            <a:off x="4825" y="4007260"/>
            <a:ext cx="3155071" cy="2850749"/>
          </a:xfrm>
          <a:custGeom>
            <a:avLst/>
            <a:gdLst/>
            <a:ahLst/>
            <a:cxnLst/>
            <a:rect l="l" t="t" r="r" b="b"/>
            <a:pathLst>
              <a:path w="3155071" h="2850749">
                <a:moveTo>
                  <a:pt x="1358746" y="0"/>
                </a:moveTo>
                <a:cubicBezTo>
                  <a:pt x="2350829" y="0"/>
                  <a:pt x="3155071" y="804242"/>
                  <a:pt x="3155071" y="1796325"/>
                </a:cubicBezTo>
                <a:cubicBezTo>
                  <a:pt x="3155071" y="2168356"/>
                  <a:pt x="3041975" y="2513972"/>
                  <a:pt x="2848287" y="2800668"/>
                </a:cubicBezTo>
                <a:lnTo>
                  <a:pt x="2810837" y="2850749"/>
                </a:lnTo>
                <a:lnTo>
                  <a:pt x="0" y="2850749"/>
                </a:lnTo>
                <a:lnTo>
                  <a:pt x="0" y="623564"/>
                </a:lnTo>
                <a:lnTo>
                  <a:pt x="88552" y="526132"/>
                </a:lnTo>
                <a:cubicBezTo>
                  <a:pt x="413623" y="201061"/>
                  <a:pt x="862705" y="0"/>
                  <a:pt x="1358746" y="0"/>
                </a:cubicBezTo>
                <a:close/>
              </a:path>
            </a:pathLst>
          </a:cu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75EBEE0-473A-43FF-862F-4A517D4A41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82207" y="2871982"/>
            <a:ext cx="5473435" cy="3181684"/>
          </a:xfrm>
        </p:spPr>
        <p:txBody>
          <a:bodyPr vert="horz" lIns="91440" tIns="45720" rIns="91440" bIns="45720" rtlCol="0" anchor="t">
            <a:normAutofit fontScale="85000" lnSpcReduction="20000"/>
          </a:bodyPr>
          <a:lstStyle/>
          <a:p>
            <a:pPr marL="57150"/>
            <a:r>
              <a:rPr lang="en-US" sz="2000" b="1" dirty="0">
                <a:latin typeface="+mn-lt"/>
                <a:ea typeface="+mn-ea"/>
                <a:cs typeface="+mn-cs"/>
              </a:rPr>
              <a:t>Phase </a:t>
            </a:r>
            <a:r>
              <a:rPr lang="en-US" sz="2000" b="1" dirty="0" err="1">
                <a:latin typeface="+mn-lt"/>
                <a:ea typeface="+mn-ea"/>
                <a:cs typeface="+mn-cs"/>
              </a:rPr>
              <a:t>pilote</a:t>
            </a:r>
            <a:r>
              <a:rPr lang="en-US" sz="2000" b="1" dirty="0">
                <a:latin typeface="+mn-lt"/>
                <a:ea typeface="+mn-ea"/>
                <a:cs typeface="+mn-cs"/>
              </a:rPr>
              <a:t> </a:t>
            </a:r>
            <a:r>
              <a:rPr lang="en-US" sz="2000" b="1" dirty="0" err="1">
                <a:latin typeface="+mn-lt"/>
                <a:ea typeface="+mn-ea"/>
                <a:cs typeface="+mn-cs"/>
              </a:rPr>
              <a:t>lancée</a:t>
            </a:r>
            <a:r>
              <a:rPr lang="en-US" sz="2000" b="1" dirty="0">
                <a:latin typeface="+mn-lt"/>
                <a:ea typeface="+mn-ea"/>
                <a:cs typeface="+mn-cs"/>
              </a:rPr>
              <a:t> aux </a:t>
            </a:r>
            <a:r>
              <a:rPr lang="en-US" sz="2000" b="1" dirty="0" err="1">
                <a:latin typeface="+mn-lt"/>
                <a:ea typeface="+mn-ea"/>
                <a:cs typeface="+mn-cs"/>
              </a:rPr>
              <a:t>États</a:t>
            </a:r>
            <a:r>
              <a:rPr lang="en-US" sz="2000" b="1" dirty="0">
                <a:latin typeface="+mn-lt"/>
                <a:ea typeface="+mn-ea"/>
                <a:cs typeface="+mn-cs"/>
              </a:rPr>
              <a:t>-Unis et au Canada </a:t>
            </a:r>
            <a:r>
              <a:rPr lang="en-US" sz="2000" b="1" dirty="0" err="1">
                <a:latin typeface="+mn-lt"/>
                <a:ea typeface="+mn-ea"/>
                <a:cs typeface="+mn-cs"/>
              </a:rPr>
              <a:t>en</a:t>
            </a:r>
            <a:r>
              <a:rPr lang="en-US" sz="2000" b="1" dirty="0">
                <a:latin typeface="+mn-lt"/>
                <a:ea typeface="+mn-ea"/>
                <a:cs typeface="+mn-cs"/>
              </a:rPr>
              <a:t> 2021</a:t>
            </a:r>
          </a:p>
          <a:p>
            <a:pPr marL="57150"/>
            <a:endParaRPr lang="en-US" sz="1800" b="1" dirty="0">
              <a:latin typeface="+mn-lt"/>
              <a:ea typeface="+mn-ea"/>
              <a:cs typeface="+mn-cs"/>
            </a:endParaRPr>
          </a:p>
          <a:p>
            <a:pPr marL="57150"/>
            <a:r>
              <a:rPr lang="fr-FR" sz="1800" b="1" dirty="0">
                <a:latin typeface="+mn-lt"/>
                <a:ea typeface="+mn-ea"/>
                <a:cs typeface="+mn-cs"/>
              </a:rPr>
              <a:t>Collaborer avec les agriculteurs pour comprendre et exploiter les les possibilités qu’offre le marché du carbone pour l’agriculture.</a:t>
            </a:r>
            <a:endParaRPr lang="en-US" sz="1800" b="1" dirty="0">
              <a:latin typeface="+mn-lt"/>
              <a:ea typeface="+mn-ea"/>
              <a:cs typeface="+mn-cs"/>
            </a:endParaRPr>
          </a:p>
          <a:p>
            <a:pPr marL="57150"/>
            <a:endParaRPr lang="en-US" sz="1800" b="1" dirty="0">
              <a:latin typeface="+mn-lt"/>
              <a:ea typeface="+mn-ea"/>
              <a:cs typeface="+mn-cs"/>
            </a:endParaRPr>
          </a:p>
          <a:p>
            <a:pPr marL="57150"/>
            <a:r>
              <a:rPr lang="fr-FR" sz="1800" b="1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utrien</a:t>
            </a:r>
            <a:r>
              <a:rPr lang="fr-FR" sz="1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’appuie sur les protocoles existants et étend ses efforts de participation avec divers groupes pour façonner et perfectionner les protocoles dans le domaine de l’agriculture</a:t>
            </a: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57150"/>
            <a:endParaRPr lang="en-US" sz="1800" b="1" dirty="0">
              <a:latin typeface="+mn-lt"/>
              <a:ea typeface="+mn-ea"/>
              <a:cs typeface="+mn-cs"/>
            </a:endParaRP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fr-FR" sz="1800" b="1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utrien</a:t>
            </a:r>
            <a:r>
              <a:rPr lang="fr-FR" sz="1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et à contribution ses outils numériques pour les producteurs, en y ajoutant les données et éléments de preuve nécessaires à la surveillance, à la production de rapports et à la vérification</a:t>
            </a: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 </a:t>
            </a: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8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7150"/>
            <a:endParaRPr lang="en-US" sz="1800" b="1" dirty="0">
              <a:latin typeface="+mn-lt"/>
              <a:ea typeface="+mn-ea"/>
              <a:cs typeface="+mn-cs"/>
            </a:endParaRPr>
          </a:p>
          <a:p>
            <a:pPr marL="57150"/>
            <a:endParaRPr lang="en-US" sz="1800" b="1" dirty="0">
              <a:latin typeface="+mn-lt"/>
              <a:ea typeface="+mn-ea"/>
              <a:cs typeface="+mn-cs"/>
            </a:endParaRPr>
          </a:p>
          <a:p>
            <a:pPr marL="57150"/>
            <a:endParaRPr lang="en-US" sz="1800" b="1" dirty="0">
              <a:latin typeface="+mn-lt"/>
              <a:ea typeface="+mn-ea"/>
              <a:cs typeface="+mn-cs"/>
            </a:endParaRPr>
          </a:p>
          <a:p>
            <a:pPr marL="57150"/>
            <a:endParaRPr lang="en-US" sz="1800" b="1" dirty="0">
              <a:latin typeface="+mn-lt"/>
              <a:ea typeface="+mn-ea"/>
              <a:cs typeface="+mn-cs"/>
            </a:endParaRPr>
          </a:p>
          <a:p>
            <a:pPr marL="57150"/>
            <a:endParaRPr lang="en-US" sz="1800" dirty="0">
              <a:latin typeface="+mn-lt"/>
              <a:ea typeface="+mn-ea"/>
              <a:cs typeface="+mn-cs"/>
            </a:endParaRPr>
          </a:p>
          <a:p>
            <a:pPr marL="57150"/>
            <a:endParaRPr lang="en-US" sz="1800" dirty="0">
              <a:latin typeface="+mn-lt"/>
              <a:ea typeface="+mn-ea"/>
              <a:cs typeface="+mn-cs"/>
            </a:endParaRPr>
          </a:p>
          <a:p>
            <a:pPr marL="57150"/>
            <a:endParaRPr lang="en-US" sz="18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4981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0B25C74-7C03-4CB3-88A8-FF50349BE7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194" y="858444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0B25C74-7C03-4CB3-88A8-FF50349BE7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25194" y="858444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28FDEE9-4115-4DED-A95D-E59454C67E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3" y="857253"/>
            <a:ext cx="119063" cy="119063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accent1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BA85DAD4-56DD-4D91-B906-91D15ABDA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-54188"/>
            <a:ext cx="10248899" cy="978729"/>
          </a:xfrm>
        </p:spPr>
        <p:txBody>
          <a:bodyPr wrap="square">
            <a:spAutoFit/>
          </a:bodyPr>
          <a:lstStyle/>
          <a:p>
            <a:r>
              <a:rPr lang="fr-FR" sz="2400" b="1" dirty="0"/>
              <a:t>Programme unique de gestion du carbone de bout en bout de </a:t>
            </a:r>
            <a:r>
              <a:rPr lang="fr-FR" sz="2400" b="1" dirty="0" err="1"/>
              <a:t>Nutrien</a:t>
            </a:r>
            <a:br>
              <a:rPr lang="en-US" sz="2400" b="1" dirty="0"/>
            </a:br>
            <a:r>
              <a:rPr lang="fr-FR" sz="2000" dirty="0"/>
              <a:t>Nous avons assemblé les éléments de base essentiels et uniques qui sont nécessaires pour obtenir des résultats durables à l’échelle voulue</a:t>
            </a:r>
            <a:endParaRPr lang="en-US" sz="240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E9148AF-E523-4C03-935E-61D1B6216BA5}"/>
              </a:ext>
            </a:extLst>
          </p:cNvPr>
          <p:cNvSpPr>
            <a:spLocks/>
          </p:cNvSpPr>
          <p:nvPr/>
        </p:nvSpPr>
        <p:spPr>
          <a:xfrm>
            <a:off x="248815" y="2267527"/>
            <a:ext cx="2216731" cy="854439"/>
          </a:xfrm>
          <a:prstGeom prst="rect">
            <a:avLst/>
          </a:prstGeom>
          <a:solidFill>
            <a:schemeClr val="accent1">
              <a:alpha val="6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anification fondée sur la confiance avec les producteur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9EF0306-50DD-40EF-928E-21CA910EA2DA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48815" y="3233685"/>
            <a:ext cx="2216731" cy="301005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192024" marR="0" lvl="1" indent="-192024" algn="l" defTabSz="1218026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ts val="900"/>
              </a:spcAft>
              <a:buClr>
                <a:srgbClr val="455E7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’appuyer sur la relation de confiance créée par les conseillers de 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trien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t les partenariats à long terme </a:t>
            </a:r>
            <a:r>
              <a:rPr lang="en-US" sz="1200" dirty="0">
                <a:solidFill>
                  <a:srgbClr val="455E70"/>
                </a:solidFill>
                <a:latin typeface="Arial" panose="020B0604020202020204"/>
              </a:rPr>
              <a:t>a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c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es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ucteur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55E7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92024" marR="0" lvl="1" indent="-192024" algn="l" defTabSz="1218026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ts val="1200"/>
              </a:spcAft>
              <a:buClr>
                <a:srgbClr val="455E7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’inscrit dans notre objectif de planification agricole de l’acre entier 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ur aider les producteurs à augmenter de façon durable le rendement de leurs investissement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55E7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8EDAFCA-BD10-498E-B972-D3C61F1C2669}"/>
              </a:ext>
            </a:extLst>
          </p:cNvPr>
          <p:cNvSpPr>
            <a:spLocks/>
          </p:cNvSpPr>
          <p:nvPr/>
        </p:nvSpPr>
        <p:spPr>
          <a:xfrm>
            <a:off x="2607404" y="2267527"/>
            <a:ext cx="2216731" cy="857634"/>
          </a:xfrm>
          <a:prstGeom prst="rect">
            <a:avLst/>
          </a:prstGeom>
          <a:solidFill>
            <a:schemeClr val="accent1">
              <a:alpha val="6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ette de gestion du carbone adaptée au producteur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CCF6EF3-F76D-48C2-A543-DA6DA8668FA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607404" y="3233685"/>
            <a:ext cx="2216731" cy="29177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192024" marR="0" lvl="1" indent="-192024" algn="l" defTabSz="1218026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ts val="900"/>
              </a:spcAft>
              <a:buClr>
                <a:srgbClr val="455E7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« 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ette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» exclusive de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trie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lang="fr-FR" sz="1200" dirty="0">
                <a:solidFill>
                  <a:srgbClr val="455E70"/>
                </a:solidFill>
                <a:latin typeface="Arial" panose="020B0604020202020204"/>
              </a:rPr>
              <a:t>englobant des  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atiques mises au point et intrants livrés par les meilleurs fournisseurs de l’industrie et notre 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amme de produits exclusif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C9D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92024" marR="0" lvl="1" indent="-192024" algn="l" defTabSz="1218026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ts val="900"/>
              </a:spcAft>
              <a:buClr>
                <a:srgbClr val="455E7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anification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mérisée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es cultures</a:t>
            </a:r>
            <a:r>
              <a:rPr lang="en-US" sz="1200" dirty="0">
                <a:solidFill>
                  <a:srgbClr val="455E70"/>
                </a:solidFill>
                <a:latin typeface="Arial" panose="020B0604020202020204"/>
              </a:rPr>
              <a:t> </a:t>
            </a:r>
            <a:r>
              <a:rPr lang="fr-FR" sz="1200" dirty="0">
                <a:solidFill>
                  <a:srgbClr val="455E70"/>
                </a:solidFill>
                <a:latin typeface="Arial" panose="020B0604020202020204"/>
              </a:rPr>
              <a:t>consistant à t</a:t>
            </a:r>
            <a:r>
              <a:rPr kumimoji="0" 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rer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arti des données provenant des champs et de l’échantillonnage des sols pour créer les données de référenc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55E7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C6AE3BD-6020-4802-BF01-889F9C946918}"/>
              </a:ext>
            </a:extLst>
          </p:cNvPr>
          <p:cNvSpPr>
            <a:spLocks/>
          </p:cNvSpPr>
          <p:nvPr/>
        </p:nvSpPr>
        <p:spPr>
          <a:xfrm>
            <a:off x="4965993" y="2267527"/>
            <a:ext cx="2216731" cy="857633"/>
          </a:xfrm>
          <a:prstGeom prst="rect">
            <a:avLst/>
          </a:prstGeom>
          <a:solidFill>
            <a:schemeClr val="accent1">
              <a:alpha val="6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tien et conseils en agronomie à la ferm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A4A601C-4777-492B-9E5A-08B7E289F0A1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984169" y="3233685"/>
            <a:ext cx="2216731" cy="230216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>
              <a:spcBef>
                <a:spcPct val="15000"/>
              </a:spcBef>
              <a:spcAft>
                <a:spcPts val="900"/>
              </a:spcAft>
              <a:buClr>
                <a:srgbClr val="455E70"/>
              </a:buClr>
              <a:defRPr/>
            </a:pP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outien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gronomique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</a:t>
            </a:r>
            <a:r>
              <a:rPr lang="en-US" sz="1200" kern="0" dirty="0">
                <a:solidFill>
                  <a:srgbClr val="455E70"/>
                </a:solidFill>
                <a:latin typeface="Arial" panose="020B0604020202020204"/>
                <a:cs typeface="Arial" panose="020B0604020202020204" pitchFamily="34" charset="0"/>
              </a:rPr>
              <a:t>tout au long de </a:t>
            </a:r>
            <a:r>
              <a:rPr lang="en-US" sz="1200" kern="0" dirty="0" err="1">
                <a:solidFill>
                  <a:srgbClr val="455E70"/>
                </a:solidFill>
                <a:latin typeface="Arial" panose="020B0604020202020204"/>
                <a:cs typeface="Arial" panose="020B0604020202020204" pitchFamily="34" charset="0"/>
              </a:rPr>
              <a:t>l’année</a:t>
            </a:r>
            <a:r>
              <a:rPr lang="en-US" sz="1200" kern="0" dirty="0">
                <a:solidFill>
                  <a:srgbClr val="455E70"/>
                </a:solidFill>
                <a:latin typeface="Arial" panose="020B0604020202020204"/>
                <a:cs typeface="Arial" panose="020B0604020202020204" pitchFamily="34" charset="0"/>
              </a:rPr>
              <a:t>, </a:t>
            </a:r>
            <a:r>
              <a:rPr lang="en-US" sz="1200" kern="0" dirty="0" err="1">
                <a:solidFill>
                  <a:srgbClr val="455E70"/>
                </a:solidFill>
                <a:latin typeface="Arial" panose="020B0604020202020204"/>
                <a:cs typeface="Arial" panose="020B0604020202020204" pitchFamily="34" charset="0"/>
              </a:rPr>
              <a:t>allant</a:t>
            </a:r>
            <a:r>
              <a:rPr lang="en-US" sz="1200" kern="0" dirty="0">
                <a:solidFill>
                  <a:srgbClr val="455E70"/>
                </a:solidFill>
                <a:latin typeface="Arial" panose="020B0604020202020204"/>
                <a:cs typeface="Arial" panose="020B0604020202020204" pitchFamily="34" charset="0"/>
              </a:rPr>
              <a:t> </a:t>
            </a: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des services d’épandage aux </a:t>
            </a:r>
            <a:r>
              <a:rPr lang="fr-FR" sz="1200" kern="0" dirty="0">
                <a:solidFill>
                  <a:srgbClr val="455E70"/>
                </a:solidFill>
                <a:cs typeface="Arial" panose="020B0604020202020204" pitchFamily="34" charset="0"/>
              </a:rPr>
              <a:t>conseils durant les différentes saisons sur </a:t>
            </a: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la gestion des culture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455E7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  <a:p>
            <a:pPr marL="192024" marR="0" lvl="1" indent="-192024" algn="l" defTabSz="1218026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ts val="900"/>
              </a:spcAft>
              <a:buClr>
                <a:srgbClr val="455E70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criptions 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 mélanges d’engrais personnalisés </a:t>
            </a:r>
            <a:r>
              <a:rPr lang="en-US" sz="1200" kern="0" dirty="0">
                <a:solidFill>
                  <a:srgbClr val="455E70"/>
                </a:solidFill>
                <a:latin typeface="Arial" panose="020B0604020202020204"/>
                <a:cs typeface="Arial" panose="020B0604020202020204" pitchFamily="34" charset="0"/>
              </a:rPr>
              <a:t>à </a:t>
            </a:r>
            <a:r>
              <a:rPr lang="en-US" sz="1200" kern="0" dirty="0" err="1">
                <a:solidFill>
                  <a:srgbClr val="455E70"/>
                </a:solidFill>
                <a:latin typeface="Arial" panose="020B0604020202020204"/>
                <a:cs typeface="Arial" panose="020B0604020202020204" pitchFamily="34" charset="0"/>
              </a:rPr>
              <a:t>taux</a:t>
            </a:r>
            <a:r>
              <a:rPr lang="en-US" sz="1200" kern="0" dirty="0">
                <a:solidFill>
                  <a:srgbClr val="455E70"/>
                </a:solidFill>
                <a:latin typeface="Arial" panose="020B0604020202020204"/>
                <a:cs typeface="Arial" panose="020B0604020202020204" pitchFamily="34" charset="0"/>
              </a:rPr>
              <a:t> variable</a:t>
            </a:r>
            <a:r>
              <a:rPr lang="fr-FR" sz="1200" kern="0" dirty="0">
                <a:solidFill>
                  <a:srgbClr val="455E70"/>
                </a:solidFill>
                <a:latin typeface="Arial" panose="020B0604020202020204"/>
                <a:cs typeface="Arial" panose="020B0604020202020204" pitchFamily="34" charset="0"/>
              </a:rPr>
              <a:t>, poursuivant ainsi l’excellence 4R de </a:t>
            </a:r>
            <a:r>
              <a:rPr lang="fr-FR" sz="1200" kern="0" dirty="0" err="1">
                <a:solidFill>
                  <a:srgbClr val="455E70"/>
                </a:solidFill>
                <a:latin typeface="Arial" panose="020B0604020202020204"/>
                <a:cs typeface="Arial" panose="020B0604020202020204" pitchFamily="34" charset="0"/>
              </a:rPr>
              <a:t>Nutrien</a:t>
            </a:r>
            <a:endParaRPr lang="en-US" sz="1200" kern="0" dirty="0">
              <a:solidFill>
                <a:srgbClr val="455E70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EB961A1-E4E8-4126-9CC3-9B4BB1825F95}"/>
              </a:ext>
            </a:extLst>
          </p:cNvPr>
          <p:cNvSpPr>
            <a:spLocks/>
          </p:cNvSpPr>
          <p:nvPr/>
        </p:nvSpPr>
        <p:spPr>
          <a:xfrm>
            <a:off x="7324582" y="2267527"/>
            <a:ext cx="2216731" cy="857633"/>
          </a:xfrm>
          <a:prstGeom prst="rect">
            <a:avLst/>
          </a:prstGeom>
          <a:solidFill>
            <a:schemeClr val="accent1">
              <a:alpha val="6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457200">
              <a:buClr>
                <a:srgbClr val="FFFFFF"/>
              </a:buClr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llecte de données </a:t>
            </a:r>
            <a:r>
              <a:rPr lang="fr-FR" sz="1600" b="1" dirty="0">
                <a:solidFill>
                  <a:srgbClr val="FFFFFF"/>
                </a:solidFill>
              </a:rPr>
              <a:t>et validation simplifiée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FDD99C5-762B-48DC-B6D8-00FF47C8D0C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7324582" y="3233685"/>
            <a:ext cx="2260014" cy="25807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315468" marR="0" lvl="0" indent="-285750" algn="l" defTabSz="1218026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900"/>
              </a:spcAft>
              <a:buClr>
                <a:srgbClr val="455E7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ate-forme numérique pour recueillir en continue des données </a:t>
            </a:r>
            <a:r>
              <a:rPr lang="fr-FR" sz="1200" kern="0" dirty="0">
                <a:solidFill>
                  <a:srgbClr val="455E70"/>
                </a:solidFill>
                <a:latin typeface="Arial" panose="020B0604020202020204"/>
                <a:cs typeface="Arial" panose="020B0604020202020204" pitchFamily="34" charset="0"/>
              </a:rPr>
              <a:t>à la ferme et dans les champs</a:t>
            </a:r>
          </a:p>
          <a:p>
            <a:pPr marL="315468" marR="0" lvl="0" indent="-285750" algn="l" defTabSz="1218026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900"/>
              </a:spcAft>
              <a:buClr>
                <a:srgbClr val="455E7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lidation des réductions des émissions, </a:t>
            </a:r>
            <a:r>
              <a:rPr lang="fr-FR" sz="1200" kern="0" dirty="0">
                <a:solidFill>
                  <a:srgbClr val="455E70"/>
                </a:solidFill>
                <a:latin typeface="Arial" panose="020B0604020202020204"/>
                <a:cs typeface="Arial" panose="020B0604020202020204" pitchFamily="34" charset="0"/>
              </a:rPr>
              <a:t>avec modélisation agronomique et points de données sur le terrain (p. ex. </a:t>
            </a:r>
            <a:r>
              <a:rPr lang="fr-FR" sz="1200" kern="0" dirty="0" err="1">
                <a:solidFill>
                  <a:srgbClr val="455E70"/>
                </a:solidFill>
                <a:latin typeface="Arial" panose="020B0604020202020204"/>
                <a:cs typeface="Arial" panose="020B0604020202020204" pitchFamily="34" charset="0"/>
              </a:rPr>
              <a:t>échantillon-nage</a:t>
            </a:r>
            <a:r>
              <a:rPr lang="fr-FR" sz="1200" kern="0" dirty="0">
                <a:solidFill>
                  <a:srgbClr val="455E70"/>
                </a:solidFill>
                <a:latin typeface="Arial" panose="020B0604020202020204"/>
                <a:cs typeface="Arial" panose="020B0604020202020204" pitchFamily="34" charset="0"/>
              </a:rPr>
              <a:t> des sols)</a:t>
            </a:r>
            <a:endParaRPr lang="en-US" sz="1200" kern="0" dirty="0">
              <a:solidFill>
                <a:srgbClr val="455E70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9D404BD2-0437-4B73-B48B-5D38F9D9C6A5}"/>
              </a:ext>
            </a:extLst>
          </p:cNvPr>
          <p:cNvPicPr>
            <a:picLocks/>
          </p:cNvPicPr>
          <p:nvPr/>
        </p:nvPicPr>
        <p:blipFill rotWithShape="1"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83169" y="997567"/>
            <a:ext cx="2216731" cy="1253631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6FD2FC16-413B-4426-AF9C-B3CA54250E40}"/>
              </a:ext>
            </a:extLst>
          </p:cNvPr>
          <p:cNvSpPr>
            <a:spLocks/>
          </p:cNvSpPr>
          <p:nvPr/>
        </p:nvSpPr>
        <p:spPr>
          <a:xfrm>
            <a:off x="9683169" y="2267527"/>
            <a:ext cx="2216731" cy="854439"/>
          </a:xfrm>
          <a:prstGeom prst="rect">
            <a:avLst/>
          </a:prstGeom>
          <a:solidFill>
            <a:schemeClr val="accent1">
              <a:alpha val="6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nétisatio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ul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t unique étap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201D5BF-6D7B-4341-BEFF-37F51B505764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9683169" y="3233685"/>
            <a:ext cx="2216731" cy="23137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192024" marR="0" lvl="1" indent="-192024" algn="l" defTabSz="1218026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ts val="900"/>
              </a:spcAft>
              <a:buClr>
                <a:srgbClr val="455E70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iement des producteurs</a:t>
            </a:r>
            <a:r>
              <a:rPr lang="fr-FR" sz="1200" kern="0" dirty="0">
                <a:solidFill>
                  <a:srgbClr val="455E70"/>
                </a:solidFill>
                <a:latin typeface="Arial" panose="020B0604020202020204"/>
                <a:cs typeface="Arial" panose="020B0604020202020204" pitchFamily="34" charset="0"/>
              </a:rPr>
              <a:t>, </a:t>
            </a:r>
            <a:r>
              <a:rPr lang="fr-FR" sz="1200" kern="0" dirty="0" err="1">
                <a:solidFill>
                  <a:srgbClr val="455E70"/>
                </a:solidFill>
                <a:latin typeface="Arial" panose="020B0604020202020204"/>
                <a:cs typeface="Arial" panose="020B0604020202020204" pitchFamily="34" charset="0"/>
              </a:rPr>
              <a:t>Nutrien</a:t>
            </a:r>
            <a:r>
              <a:rPr lang="fr-FR" sz="1200" kern="0" dirty="0">
                <a:solidFill>
                  <a:srgbClr val="455E70"/>
                </a:solidFill>
                <a:latin typeface="Arial" panose="020B0604020202020204"/>
                <a:cs typeface="Arial" panose="020B0604020202020204" pitchFamily="34" charset="0"/>
              </a:rPr>
              <a:t> gérant tous les aspects des ventes de crédits de carbone de concert avec ses partenaires</a:t>
            </a:r>
          </a:p>
          <a:p>
            <a:pPr marL="192024" marR="0" lvl="1" indent="-192024" algn="l" defTabSz="1218026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ts val="900"/>
              </a:spcAft>
              <a:buClr>
                <a:srgbClr val="455E70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lang="fr-FR" sz="1400" b="1" kern="0" dirty="0">
                <a:solidFill>
                  <a:srgbClr val="4C9D00"/>
                </a:solidFill>
                <a:latin typeface="Arial" panose="020B0604020202020204"/>
              </a:rPr>
              <a:t>Gestion des crédits de carbone </a:t>
            </a:r>
            <a:r>
              <a:rPr lang="fr-FR" sz="1200" kern="0" dirty="0">
                <a:solidFill>
                  <a:srgbClr val="455E70"/>
                </a:solidFill>
                <a:latin typeface="Arial" panose="020B0604020202020204"/>
                <a:cs typeface="Arial" panose="020B0604020202020204" pitchFamily="34" charset="0"/>
              </a:rPr>
              <a:t>intégrée à la plate-forme numérique de </a:t>
            </a:r>
            <a:r>
              <a:rPr lang="fr-FR" sz="1200" kern="0" dirty="0" err="1">
                <a:solidFill>
                  <a:srgbClr val="455E70"/>
                </a:solidFill>
                <a:latin typeface="Arial" panose="020B0604020202020204"/>
                <a:cs typeface="Arial" panose="020B0604020202020204" pitchFamily="34" charset="0"/>
              </a:rPr>
              <a:t>Nutrien</a:t>
            </a:r>
            <a:endParaRPr lang="fr-FR" sz="1200" kern="0" dirty="0">
              <a:solidFill>
                <a:srgbClr val="455E70"/>
              </a:solidFill>
              <a:latin typeface="Arial" panose="020B0604020202020204"/>
              <a:cs typeface="Arial" panose="020B0604020202020204" pitchFamily="34" charset="0"/>
            </a:endParaRPr>
          </a:p>
          <a:p>
            <a:pPr marL="192024" marR="0" lvl="1" indent="-192024" algn="l" defTabSz="1218026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ts val="900"/>
              </a:spcAft>
              <a:buClr>
                <a:srgbClr val="455E70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endParaRPr kumimoji="0" lang="fr-FR" sz="1500" b="1" i="0" u="none" strike="noStrike" kern="1200" cap="none" spc="0" normalizeH="0" baseline="0" noProof="0" dirty="0">
              <a:ln>
                <a:noFill/>
              </a:ln>
              <a:solidFill>
                <a:srgbClr val="4C9D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007F9262-1FD7-4D99-9672-6CC696D6A339}"/>
              </a:ext>
            </a:extLst>
          </p:cNvPr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623218" y="1911797"/>
            <a:ext cx="925594" cy="263084"/>
          </a:xfrm>
          <a:prstGeom prst="rect">
            <a:avLst/>
          </a:prstGeom>
        </p:spPr>
      </p:pic>
      <p:pic>
        <p:nvPicPr>
          <p:cNvPr id="59" name="Picture 58" descr="Logo, icon&#10;&#10;Description automatically generated">
            <a:extLst>
              <a:ext uri="{FF2B5EF4-FFF2-40B4-BE49-F238E27FC236}">
                <a16:creationId xmlns:a16="http://schemas.microsoft.com/office/drawing/2014/main" id="{C1B50F7A-A171-4938-BE7C-AB9AD8B6882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0128" y="1252983"/>
            <a:ext cx="830793" cy="301991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235D3E3B-B0D1-4AB9-B7E4-E11DC162DA7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713086" y="1120455"/>
            <a:ext cx="1297863" cy="265056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DE67BE3D-AC60-4BB2-BD86-D2E3C3EC59D5}"/>
              </a:ext>
            </a:extLst>
          </p:cNvPr>
          <p:cNvPicPr>
            <a:picLocks noChangeAspect="1"/>
          </p:cNvPicPr>
          <p:nvPr/>
        </p:nvPicPr>
        <p:blipFill>
          <a:blip r:embed="rId17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29141" y="1170067"/>
            <a:ext cx="748322" cy="430887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40F15285-D307-4B20-B51B-0A1B1F7C5984}"/>
              </a:ext>
            </a:extLst>
          </p:cNvPr>
          <p:cNvPicPr>
            <a:picLocks noChangeAspect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525001" y="1665535"/>
            <a:ext cx="982288" cy="319571"/>
          </a:xfrm>
          <a:prstGeom prst="rect">
            <a:avLst/>
          </a:prstGeom>
        </p:spPr>
      </p:pic>
      <p:pic>
        <p:nvPicPr>
          <p:cNvPr id="65" name="Picture 64" descr="Logo&#10;&#10;Description automatically generated">
            <a:extLst>
              <a:ext uri="{FF2B5EF4-FFF2-40B4-BE49-F238E27FC236}">
                <a16:creationId xmlns:a16="http://schemas.microsoft.com/office/drawing/2014/main" id="{BB4AE73E-8F21-44C2-B124-96813D3F659E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8038" y="1792490"/>
            <a:ext cx="761984" cy="253995"/>
          </a:xfrm>
          <a:prstGeom prst="rect">
            <a:avLst/>
          </a:prstGeom>
        </p:spPr>
      </p:pic>
      <p:pic>
        <p:nvPicPr>
          <p:cNvPr id="66" name="Picture 65" descr="A person walking down a dirt road&#10;&#10;Description automatically generated">
            <a:extLst>
              <a:ext uri="{FF2B5EF4-FFF2-40B4-BE49-F238E27FC236}">
                <a16:creationId xmlns:a16="http://schemas.microsoft.com/office/drawing/2014/main" id="{A89B934C-9B52-41FF-A774-059281885C23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06" b="9575"/>
          <a:stretch/>
        </p:blipFill>
        <p:spPr>
          <a:xfrm>
            <a:off x="257933" y="997567"/>
            <a:ext cx="2208854" cy="1252728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9DF1172F-D2B7-4959-9E06-135211D667AF}"/>
              </a:ext>
            </a:extLst>
          </p:cNvPr>
          <p:cNvPicPr>
            <a:picLocks/>
          </p:cNvPicPr>
          <p:nvPr/>
        </p:nvPicPr>
        <p:blipFill>
          <a:blip r:embed="rId21"/>
          <a:stretch>
            <a:fillRect/>
          </a:stretch>
        </p:blipFill>
        <p:spPr>
          <a:xfrm>
            <a:off x="4965992" y="997567"/>
            <a:ext cx="2216732" cy="1252728"/>
          </a:xfrm>
          <a:prstGeom prst="rect">
            <a:avLst/>
          </a:prstGeom>
        </p:spPr>
      </p:pic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69AEC9BE-8203-4B6E-8BD5-B2C888FC9C8F}"/>
              </a:ext>
            </a:extLst>
          </p:cNvPr>
          <p:cNvCxnSpPr>
            <a:cxnSpLocks/>
          </p:cNvCxnSpPr>
          <p:nvPr/>
        </p:nvCxnSpPr>
        <p:spPr>
          <a:xfrm>
            <a:off x="2536475" y="988657"/>
            <a:ext cx="0" cy="530352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A4B8DBFB-917B-468C-ADBB-0EFEC3206B0C}"/>
              </a:ext>
            </a:extLst>
          </p:cNvPr>
          <p:cNvCxnSpPr>
            <a:cxnSpLocks/>
          </p:cNvCxnSpPr>
          <p:nvPr/>
        </p:nvCxnSpPr>
        <p:spPr>
          <a:xfrm>
            <a:off x="4895064" y="988657"/>
            <a:ext cx="0" cy="530352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AC44BEEF-DB4B-40CC-A0FC-BFCF9EE2C527}"/>
              </a:ext>
            </a:extLst>
          </p:cNvPr>
          <p:cNvCxnSpPr>
            <a:cxnSpLocks/>
          </p:cNvCxnSpPr>
          <p:nvPr/>
        </p:nvCxnSpPr>
        <p:spPr>
          <a:xfrm>
            <a:off x="7253653" y="988657"/>
            <a:ext cx="0" cy="530352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528BC843-5DB6-403E-B63F-8A8E764CC0BA}"/>
              </a:ext>
            </a:extLst>
          </p:cNvPr>
          <p:cNvCxnSpPr>
            <a:cxnSpLocks/>
          </p:cNvCxnSpPr>
          <p:nvPr/>
        </p:nvCxnSpPr>
        <p:spPr>
          <a:xfrm>
            <a:off x="9612241" y="988657"/>
            <a:ext cx="0" cy="530352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Slide Number Placeholder 4">
            <a:extLst>
              <a:ext uri="{FF2B5EF4-FFF2-40B4-BE49-F238E27FC236}">
                <a16:creationId xmlns:a16="http://schemas.microsoft.com/office/drawing/2014/main" id="{D84C0E7A-9BB8-43AA-A766-9992581B3B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1655" y="237620"/>
            <a:ext cx="383144" cy="46634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03715B-06FD-AD46-ADCA-96DA37DE3FF5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Date Placeholder 3">
            <a:extLst>
              <a:ext uri="{FF2B5EF4-FFF2-40B4-BE49-F238E27FC236}">
                <a16:creationId xmlns:a16="http://schemas.microsoft.com/office/drawing/2014/main" id="{4EDF0971-9159-4BD3-B390-3CF901254909}"/>
              </a:ext>
            </a:extLst>
          </p:cNvPr>
          <p:cNvSpPr txBox="1">
            <a:spLocks/>
          </p:cNvSpPr>
          <p:nvPr/>
        </p:nvSpPr>
        <p:spPr>
          <a:xfrm>
            <a:off x="9536331" y="6416793"/>
            <a:ext cx="2046069" cy="31173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1BD5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E1BD5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vembr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1BD5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020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82858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Footer Placeholder 4">
            <a:extLst>
              <a:ext uri="{FF2B5EF4-FFF2-40B4-BE49-F238E27FC236}">
                <a16:creationId xmlns:a16="http://schemas.microsoft.com/office/drawing/2014/main" id="{B3C123CB-918F-4DD9-B736-19B45F7CFFBF}"/>
              </a:ext>
            </a:extLst>
          </p:cNvPr>
          <p:cNvSpPr txBox="1">
            <a:spLocks/>
          </p:cNvSpPr>
          <p:nvPr/>
        </p:nvSpPr>
        <p:spPr>
          <a:xfrm>
            <a:off x="8930640" y="6731019"/>
            <a:ext cx="2585086" cy="126981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kern="1200" cap="all" baseline="0" smtClean="0">
                <a:solidFill>
                  <a:schemeClr val="accent6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E1BD5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Nutrien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E1BD5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2" name="Picture 10" descr="Echelon">
            <a:extLst>
              <a:ext uri="{FF2B5EF4-FFF2-40B4-BE49-F238E27FC236}">
                <a16:creationId xmlns:a16="http://schemas.microsoft.com/office/drawing/2014/main" id="{4ED30BF0-A75F-413B-A3C0-D49CF1386D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64" t="32813" r="9961" b="34200"/>
          <a:stretch/>
        </p:blipFill>
        <p:spPr bwMode="auto">
          <a:xfrm>
            <a:off x="7419991" y="1419585"/>
            <a:ext cx="1139036" cy="465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77859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357F90-914A-4658-BC3E-8FDD29A6FF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195" y="185959"/>
            <a:ext cx="10419806" cy="881690"/>
          </a:xfrm>
        </p:spPr>
        <p:txBody>
          <a:bodyPr>
            <a:normAutofit/>
          </a:bodyPr>
          <a:lstStyle/>
          <a:p>
            <a:r>
              <a:rPr lang="fr-FR" sz="2700" dirty="0"/>
              <a:t>L’objectif est de fournir des compensations carbone de haut niveau</a:t>
            </a:r>
            <a:br>
              <a:rPr lang="fr-FR" dirty="0"/>
            </a:br>
            <a:endParaRPr lang="fr-F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A73AD2-35D8-4240-A791-456AAAD1F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B504955-9CF3-4FAE-BEAE-C1C74E5FEEF4}"/>
              </a:ext>
            </a:extLst>
          </p:cNvPr>
          <p:cNvSpPr txBox="1"/>
          <p:nvPr/>
        </p:nvSpPr>
        <p:spPr>
          <a:xfrm>
            <a:off x="457200" y="1000125"/>
            <a:ext cx="11182350" cy="110799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600" b="1" i="1" dirty="0"/>
              <a:t>Que l’objectif soit de participer à un marché du carbone reposant sur la conformité, à un marché volontaire ou à une initiative de la chaîne d’approvisionnement, les compensations carbone de haute qualité se feront selon un ensemble de principes fondamentaux.</a:t>
            </a:r>
          </a:p>
          <a:p>
            <a:pPr algn="ctr"/>
            <a:endParaRPr lang="fr-FR" b="1" i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3B50CE-7BD0-4803-BB61-A52A7C7AAB04}"/>
              </a:ext>
            </a:extLst>
          </p:cNvPr>
          <p:cNvSpPr txBox="1"/>
          <p:nvPr/>
        </p:nvSpPr>
        <p:spPr>
          <a:xfrm>
            <a:off x="738868" y="2201585"/>
            <a:ext cx="4577929" cy="42473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 err="1"/>
              <a:t>Principes</a:t>
            </a:r>
            <a:r>
              <a:rPr lang="en-US" sz="1400" dirty="0"/>
              <a:t> :</a:t>
            </a:r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Réel – basé sur une base de référence crédible et quantifié à l’aide d’une méthode conservatrice, publique et évaluée par les pai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Supplémentaire – au-delà de la gestion des affaires habituel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Permanent – toute inversion nette doit être comptabilisée et remplacé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Vérifié – Examen par une tierce partie de la surveillance, des données et des éléments de preuve fournis dans les rappor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Enregistré – propriété claire et suivi pour éviter le double compt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A39BAA-D8C0-4035-A02F-3ED8DFDC378B}"/>
              </a:ext>
            </a:extLst>
          </p:cNvPr>
          <p:cNvSpPr txBox="1"/>
          <p:nvPr/>
        </p:nvSpPr>
        <p:spPr>
          <a:xfrm>
            <a:off x="6519999" y="2173600"/>
            <a:ext cx="5391150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Défis</a:t>
            </a:r>
            <a:r>
              <a:rPr lang="en-US" sz="1400" dirty="0"/>
              <a:t> pour </a:t>
            </a:r>
            <a:r>
              <a:rPr lang="en-US" sz="1400" dirty="0" err="1"/>
              <a:t>l’agriculture</a:t>
            </a:r>
            <a:r>
              <a:rPr lang="en-US" sz="1400" dirty="0"/>
              <a:t>: </a:t>
            </a:r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Fardeau élevé de production de données de validation, de vérification et de surveillance et de génération de rappor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Les procédés de mesure coûtent cher et il y a une grande variabilité dans les systèmes biologiques qui crée de l’incertitud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Il y a une actualisation importante des réductions d’émissions et de la séquestration en réponse aux problèmes de non-permanence, de réversibilité et d’incertitud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Il y a un manque de numérisation parmi les agriculteurs, et la mise en œuvre des procédés </a:t>
            </a:r>
            <a:r>
              <a:rPr lang="fr-FR" sz="1400"/>
              <a:t>chez eux est </a:t>
            </a:r>
            <a:r>
              <a:rPr lang="fr-FR" sz="1400" dirty="0"/>
              <a:t>difficil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Les paiements versés aux agriculteurs pour le carbone sont relativement faibl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6336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aTIgPiRGaS6tg5n90Kz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2SdyD5QQd00owCTvCAB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aTIgPiRGaS6tg5n90Kz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aTIgPiRGaS6tg5n90Kz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3578LI_CF">
  <a:themeElements>
    <a:clrScheme name="Custom">
      <a:dk1>
        <a:srgbClr val="455E70"/>
      </a:dk1>
      <a:lt1>
        <a:srgbClr val="FFFFFF"/>
      </a:lt1>
      <a:dk2>
        <a:srgbClr val="455E70"/>
      </a:dk2>
      <a:lt2>
        <a:srgbClr val="E1BD5E"/>
      </a:lt2>
      <a:accent1>
        <a:srgbClr val="4C9D00"/>
      </a:accent1>
      <a:accent2>
        <a:srgbClr val="86D400"/>
      </a:accent2>
      <a:accent3>
        <a:srgbClr val="455E70"/>
      </a:accent3>
      <a:accent4>
        <a:srgbClr val="828586"/>
      </a:accent4>
      <a:accent5>
        <a:srgbClr val="D37024"/>
      </a:accent5>
      <a:accent6>
        <a:srgbClr val="808080"/>
      </a:accent6>
      <a:hlink>
        <a:srgbClr val="455E70"/>
      </a:hlink>
      <a:folHlink>
        <a:srgbClr val="828586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chemeClr val="bg1">
                <a:lumMod val="85000"/>
              </a:schemeClr>
            </a:gs>
            <a:gs pos="100000">
              <a:schemeClr val="accent1"/>
            </a:gs>
          </a:gsLst>
          <a:lin ang="0" scaled="1"/>
          <a:tileRect/>
        </a:gradFill>
        <a:ln w="9525">
          <a:noFill/>
        </a:ln>
      </a:spPr>
      <a:bodyPr rtlCol="0" anchor="ctr">
        <a:noAutofit/>
      </a:bodyPr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455E70"/>
        </a:dk1>
        <a:lt1>
          <a:srgbClr val="FFFFFF"/>
        </a:lt1>
        <a:dk2>
          <a:srgbClr val="455E70"/>
        </a:dk2>
        <a:lt2>
          <a:srgbClr val="E1BD5E"/>
        </a:lt2>
        <a:accent1>
          <a:srgbClr val="4C9D00"/>
        </a:accent1>
        <a:accent2>
          <a:srgbClr val="86D400"/>
        </a:accent2>
        <a:accent3>
          <a:srgbClr val="455E70"/>
        </a:accent3>
        <a:accent4>
          <a:srgbClr val="828586"/>
        </a:accent4>
        <a:accent5>
          <a:srgbClr val="D37024"/>
        </a:accent5>
        <a:accent6>
          <a:srgbClr val="808080"/>
        </a:accent6>
        <a:hlink>
          <a:srgbClr val="455E70"/>
        </a:hlink>
        <a:folHlink>
          <a:srgbClr val="82858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3578LI_CF.potx" id="{1C9B91CE-E171-4629-B77D-6C099EF885E4}" vid="{60837EEA-4557-4D27-91FF-F633278ED6CA}"/>
    </a:ext>
  </a:extLst>
</a:theme>
</file>

<file path=ppt/theme/theme3.xml><?xml version="1.0" encoding="utf-8"?>
<a:theme xmlns:a="http://schemas.openxmlformats.org/drawingml/2006/main" name="3578LI_CF">
  <a:themeElements>
    <a:clrScheme name="Custom">
      <a:dk1>
        <a:srgbClr val="455E70"/>
      </a:dk1>
      <a:lt1>
        <a:srgbClr val="FFFFFF"/>
      </a:lt1>
      <a:dk2>
        <a:srgbClr val="455E70"/>
      </a:dk2>
      <a:lt2>
        <a:srgbClr val="E1BD5E"/>
      </a:lt2>
      <a:accent1>
        <a:srgbClr val="4C9D00"/>
      </a:accent1>
      <a:accent2>
        <a:srgbClr val="86D400"/>
      </a:accent2>
      <a:accent3>
        <a:srgbClr val="455E70"/>
      </a:accent3>
      <a:accent4>
        <a:srgbClr val="828586"/>
      </a:accent4>
      <a:accent5>
        <a:srgbClr val="D37024"/>
      </a:accent5>
      <a:accent6>
        <a:srgbClr val="808080"/>
      </a:accent6>
      <a:hlink>
        <a:srgbClr val="455E70"/>
      </a:hlink>
      <a:folHlink>
        <a:srgbClr val="828586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chemeClr val="bg1">
                <a:lumMod val="85000"/>
              </a:schemeClr>
            </a:gs>
            <a:gs pos="100000">
              <a:schemeClr val="accent1"/>
            </a:gs>
          </a:gsLst>
          <a:lin ang="0" scaled="1"/>
          <a:tileRect/>
        </a:gradFill>
        <a:ln w="9525">
          <a:noFill/>
        </a:ln>
      </a:spPr>
      <a:bodyPr rtlCol="0" anchor="ctr">
        <a:noAutofit/>
      </a:bodyPr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455E70"/>
        </a:dk1>
        <a:lt1>
          <a:srgbClr val="FFFFFF"/>
        </a:lt1>
        <a:dk2>
          <a:srgbClr val="455E70"/>
        </a:dk2>
        <a:lt2>
          <a:srgbClr val="E1BD5E"/>
        </a:lt2>
        <a:accent1>
          <a:srgbClr val="4C9D00"/>
        </a:accent1>
        <a:accent2>
          <a:srgbClr val="86D400"/>
        </a:accent2>
        <a:accent3>
          <a:srgbClr val="455E70"/>
        </a:accent3>
        <a:accent4>
          <a:srgbClr val="828586"/>
        </a:accent4>
        <a:accent5>
          <a:srgbClr val="D37024"/>
        </a:accent5>
        <a:accent6>
          <a:srgbClr val="808080"/>
        </a:accent6>
        <a:hlink>
          <a:srgbClr val="455E70"/>
        </a:hlink>
        <a:folHlink>
          <a:srgbClr val="82858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3578LI_CF.potx" id="{1C9B91CE-E171-4629-B77D-6C099EF885E4}" vid="{60837EEA-4557-4D27-91FF-F633278ED6CA}"/>
    </a:ext>
  </a:extLst>
</a:theme>
</file>

<file path=ppt/theme/theme4.xml><?xml version="1.0" encoding="utf-8"?>
<a:theme xmlns:a="http://schemas.openxmlformats.org/drawingml/2006/main" name="3_3578LI_CF">
  <a:themeElements>
    <a:clrScheme name="Custom">
      <a:dk1>
        <a:srgbClr val="455E70"/>
      </a:dk1>
      <a:lt1>
        <a:srgbClr val="FFFFFF"/>
      </a:lt1>
      <a:dk2>
        <a:srgbClr val="455E70"/>
      </a:dk2>
      <a:lt2>
        <a:srgbClr val="E1BD5E"/>
      </a:lt2>
      <a:accent1>
        <a:srgbClr val="4C9D00"/>
      </a:accent1>
      <a:accent2>
        <a:srgbClr val="86D400"/>
      </a:accent2>
      <a:accent3>
        <a:srgbClr val="455E70"/>
      </a:accent3>
      <a:accent4>
        <a:srgbClr val="828586"/>
      </a:accent4>
      <a:accent5>
        <a:srgbClr val="D37024"/>
      </a:accent5>
      <a:accent6>
        <a:srgbClr val="808080"/>
      </a:accent6>
      <a:hlink>
        <a:srgbClr val="455E70"/>
      </a:hlink>
      <a:folHlink>
        <a:srgbClr val="828586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chemeClr val="bg1">
                <a:lumMod val="85000"/>
              </a:schemeClr>
            </a:gs>
            <a:gs pos="100000">
              <a:schemeClr val="accent1"/>
            </a:gs>
          </a:gsLst>
          <a:lin ang="0" scaled="1"/>
          <a:tileRect/>
        </a:gradFill>
        <a:ln w="9525">
          <a:noFill/>
        </a:ln>
      </a:spPr>
      <a:bodyPr rtlCol="0" anchor="ctr">
        <a:noAutofit/>
      </a:bodyPr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455E70"/>
        </a:dk1>
        <a:lt1>
          <a:srgbClr val="FFFFFF"/>
        </a:lt1>
        <a:dk2>
          <a:srgbClr val="455E70"/>
        </a:dk2>
        <a:lt2>
          <a:srgbClr val="E1BD5E"/>
        </a:lt2>
        <a:accent1>
          <a:srgbClr val="4C9D00"/>
        </a:accent1>
        <a:accent2>
          <a:srgbClr val="86D400"/>
        </a:accent2>
        <a:accent3>
          <a:srgbClr val="455E70"/>
        </a:accent3>
        <a:accent4>
          <a:srgbClr val="828586"/>
        </a:accent4>
        <a:accent5>
          <a:srgbClr val="D37024"/>
        </a:accent5>
        <a:accent6>
          <a:srgbClr val="808080"/>
        </a:accent6>
        <a:hlink>
          <a:srgbClr val="455E70"/>
        </a:hlink>
        <a:folHlink>
          <a:srgbClr val="82858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3578LI_CF.potx" id="{1C9B91CE-E171-4629-B77D-6C099EF885E4}" vid="{60837EEA-4557-4D27-91FF-F633278ED6CA}"/>
    </a:ext>
  </a:extLst>
</a:theme>
</file>

<file path=ppt/theme/theme5.xml><?xml version="1.0" encoding="utf-8"?>
<a:theme xmlns:a="http://schemas.openxmlformats.org/drawingml/2006/main" name="Title Slides">
  <a:themeElements>
    <a:clrScheme name="Nutrien Colors">
      <a:dk1>
        <a:srgbClr val="455E70"/>
      </a:dk1>
      <a:lt1>
        <a:srgbClr val="FFFFFF"/>
      </a:lt1>
      <a:dk2>
        <a:srgbClr val="455E70"/>
      </a:dk2>
      <a:lt2>
        <a:srgbClr val="FFFFFF"/>
      </a:lt2>
      <a:accent1>
        <a:srgbClr val="4C9D00"/>
      </a:accent1>
      <a:accent2>
        <a:srgbClr val="86D400"/>
      </a:accent2>
      <a:accent3>
        <a:srgbClr val="455E70"/>
      </a:accent3>
      <a:accent4>
        <a:srgbClr val="828586"/>
      </a:accent4>
      <a:accent5>
        <a:srgbClr val="D37024"/>
      </a:accent5>
      <a:accent6>
        <a:srgbClr val="E1BD5E"/>
      </a:accent6>
      <a:hlink>
        <a:srgbClr val="216298"/>
      </a:hlink>
      <a:folHlink>
        <a:srgbClr val="D3702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utrienAgSolutions_PPT-Widescreen_Tamplate.pptx" id="{6E9DDBA3-329B-4858-A5EC-89B6DD35F461}" vid="{8B2020C4-A881-4941-BE1C-BC7207D17E11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49</TotalTime>
  <Words>622</Words>
  <Application>Microsoft Office PowerPoint</Application>
  <PresentationFormat>Widescreen</PresentationFormat>
  <Paragraphs>62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7" baseType="lpstr">
      <vt:lpstr>.AppleSystemUIFont</vt:lpstr>
      <vt:lpstr>Arial</vt:lpstr>
      <vt:lpstr>Calibri</vt:lpstr>
      <vt:lpstr>Calibri Light</vt:lpstr>
      <vt:lpstr>Cambria</vt:lpstr>
      <vt:lpstr>Courier New</vt:lpstr>
      <vt:lpstr>Georgia</vt:lpstr>
      <vt:lpstr>Segoe UI</vt:lpstr>
      <vt:lpstr>5_Custom Design</vt:lpstr>
      <vt:lpstr>2_3578LI_CF</vt:lpstr>
      <vt:lpstr>3578LI_CF</vt:lpstr>
      <vt:lpstr>3_3578LI_CF</vt:lpstr>
      <vt:lpstr>Title Slides</vt:lpstr>
      <vt:lpstr>think-cell Slide</vt:lpstr>
      <vt:lpstr>Le programme de gestion du carbone de Nutrien</vt:lpstr>
      <vt:lpstr>Programme unique de gestion du carbone de bout en bout de Nutrien Nous avons assemblé les éléments de base essentiels et uniques qui sont nécessaires pour obtenir des résultats durables à l’échelle voulue</vt:lpstr>
      <vt:lpstr>L’objectif est de fournir des compensations carbone de haut niveau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utrien‘s Carbon Program</dc:title>
  <dc:creator>Michelle Nutting</dc:creator>
  <cp:lastModifiedBy>HAERENS, Norman</cp:lastModifiedBy>
  <cp:revision>33</cp:revision>
  <dcterms:created xsi:type="dcterms:W3CDTF">2021-02-19T21:19:04Z</dcterms:created>
  <dcterms:modified xsi:type="dcterms:W3CDTF">2021-02-23T18:51:01Z</dcterms:modified>
</cp:coreProperties>
</file>